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9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0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1.xml" ContentType="application/vnd.openxmlformats-officedocument.them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2.xml" ContentType="application/vnd.openxmlformats-officedocument.theme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3.xml" ContentType="application/vnd.openxmlformats-officedocument.theme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4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6.xml" ContentType="application/vnd.openxmlformats-officedocument.theme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7.xml" ContentType="application/vnd.openxmlformats-officedocument.theme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18.xml" ContentType="application/vnd.openxmlformats-officedocument.theme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19.xml" ContentType="application/vnd.openxmlformats-officedocument.theme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20.xml" ContentType="application/vnd.openxmlformats-officedocument.theme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21.xml" ContentType="application/vnd.openxmlformats-officedocument.theme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22.xml" ContentType="application/vnd.openxmlformats-officedocument.theme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notesSlides/notesSlide11.xml" ContentType="application/vnd.openxmlformats-officedocument.presentationml.notesSlide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notesSlides/notesSlide12.xml" ContentType="application/vnd.openxmlformats-officedocument.presentationml.notesSlide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notesSlides/notesSlide13.xml" ContentType="application/vnd.openxmlformats-officedocument.presentationml.notesSlide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notesSlides/notesSlide14.xml" ContentType="application/vnd.openxmlformats-officedocument.presentationml.notesSlide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notesSlides/notesSlide15.xml" ContentType="application/vnd.openxmlformats-officedocument.presentationml.notesSlide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1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5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2.xml" ContentType="application/vnd.openxmlformats-officedocument.drawingml.chartshapes+xml"/>
  <Override PartName="/ppt/notesSlides/notesSlide26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27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3.xml" ContentType="application/vnd.openxmlformats-officedocument.drawingml.chartshape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1.xml" ContentType="application/vnd.openxmlformats-officedocument.presentationml.notesSlide+xml"/>
  <Override PartName="/ppt/charts/chart13.xml" ContentType="application/vnd.openxmlformats-officedocument.drawingml.chart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theme/themeOverride2.xml" ContentType="application/vnd.openxmlformats-officedocument.themeOverride+xml"/>
  <Override PartName="/ppt/drawings/drawing4.xml" ContentType="application/vnd.openxmlformats-officedocument.drawingml.chartshape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971" r:id="rId1"/>
    <p:sldMasterId id="2147483983" r:id="rId2"/>
    <p:sldMasterId id="2147483995" r:id="rId3"/>
    <p:sldMasterId id="2147484007" r:id="rId4"/>
    <p:sldMasterId id="2147484044" r:id="rId5"/>
    <p:sldMasterId id="2147484079" r:id="rId6"/>
    <p:sldMasterId id="2147484102" r:id="rId7"/>
    <p:sldMasterId id="2147484125" r:id="rId8"/>
    <p:sldMasterId id="2147484148" r:id="rId9"/>
    <p:sldMasterId id="2147484208" r:id="rId10"/>
    <p:sldMasterId id="2147484256" r:id="rId11"/>
    <p:sldMasterId id="2147484279" r:id="rId12"/>
    <p:sldMasterId id="2147484305" r:id="rId13"/>
    <p:sldMasterId id="2147484318" r:id="rId14"/>
    <p:sldMasterId id="2147484342" r:id="rId15"/>
    <p:sldMasterId id="2147484354" r:id="rId16"/>
    <p:sldMasterId id="2147484377" r:id="rId17"/>
    <p:sldMasterId id="2147484401" r:id="rId18"/>
    <p:sldMasterId id="2147484425" r:id="rId19"/>
    <p:sldMasterId id="2147484449" r:id="rId20"/>
    <p:sldMasterId id="2147484473" r:id="rId21"/>
    <p:sldMasterId id="2147484485" r:id="rId22"/>
  </p:sldMasterIdLst>
  <p:notesMasterIdLst>
    <p:notesMasterId r:id="rId72"/>
  </p:notesMasterIdLst>
  <p:sldIdLst>
    <p:sldId id="425" r:id="rId23"/>
    <p:sldId id="707" r:id="rId24"/>
    <p:sldId id="708" r:id="rId25"/>
    <p:sldId id="638" r:id="rId26"/>
    <p:sldId id="639" r:id="rId27"/>
    <p:sldId id="640" r:id="rId28"/>
    <p:sldId id="642" r:id="rId29"/>
    <p:sldId id="709" r:id="rId30"/>
    <p:sldId id="644" r:id="rId31"/>
    <p:sldId id="704" r:id="rId32"/>
    <p:sldId id="705" r:id="rId33"/>
    <p:sldId id="706" r:id="rId34"/>
    <p:sldId id="648" r:id="rId35"/>
    <p:sldId id="649" r:id="rId36"/>
    <p:sldId id="710" r:id="rId37"/>
    <p:sldId id="650" r:id="rId38"/>
    <p:sldId id="651" r:id="rId39"/>
    <p:sldId id="652" r:id="rId40"/>
    <p:sldId id="711" r:id="rId41"/>
    <p:sldId id="712" r:id="rId42"/>
    <p:sldId id="718" r:id="rId43"/>
    <p:sldId id="719" r:id="rId44"/>
    <p:sldId id="720" r:id="rId45"/>
    <p:sldId id="721" r:id="rId46"/>
    <p:sldId id="713" r:id="rId47"/>
    <p:sldId id="684" r:id="rId48"/>
    <p:sldId id="685" r:id="rId49"/>
    <p:sldId id="686" r:id="rId50"/>
    <p:sldId id="687" r:id="rId51"/>
    <p:sldId id="688" r:id="rId52"/>
    <p:sldId id="664" r:id="rId53"/>
    <p:sldId id="665" r:id="rId54"/>
    <p:sldId id="666" r:id="rId55"/>
    <p:sldId id="714" r:id="rId56"/>
    <p:sldId id="715" r:id="rId57"/>
    <p:sldId id="701" r:id="rId58"/>
    <p:sldId id="700" r:id="rId59"/>
    <p:sldId id="716" r:id="rId60"/>
    <p:sldId id="717" r:id="rId61"/>
    <p:sldId id="690" r:id="rId62"/>
    <p:sldId id="691" r:id="rId63"/>
    <p:sldId id="692" r:id="rId64"/>
    <p:sldId id="693" r:id="rId65"/>
    <p:sldId id="694" r:id="rId66"/>
    <p:sldId id="682" r:id="rId67"/>
    <p:sldId id="726" r:id="rId68"/>
    <p:sldId id="723" r:id="rId69"/>
    <p:sldId id="725" r:id="rId70"/>
    <p:sldId id="724" r:id="rId71"/>
  </p:sldIdLst>
  <p:sldSz cx="12192000" cy="6858000"/>
  <p:notesSz cx="6858000" cy="9947275"/>
  <p:defaultTextStyle>
    <a:defPPr>
      <a:defRPr lang="ru-RU"/>
    </a:defPPr>
    <a:lvl1pPr marL="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816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646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46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288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9091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4921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0752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657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1E9"/>
    <a:srgbClr val="B3BBCB"/>
    <a:srgbClr val="7483A0"/>
    <a:srgbClr val="FFBCBC"/>
    <a:srgbClr val="CF8E8E"/>
    <a:srgbClr val="FF9900"/>
    <a:srgbClr val="FFD1D1"/>
    <a:srgbClr val="00B050"/>
    <a:srgbClr val="92D050"/>
    <a:srgbClr val="43BB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99" autoAdjust="0"/>
    <p:restoredTop sz="95706" autoAdjust="0"/>
  </p:normalViewPr>
  <p:slideViewPr>
    <p:cSldViewPr snapToGrid="0">
      <p:cViewPr varScale="1">
        <p:scale>
          <a:sx n="46" d="100"/>
          <a:sy n="46" d="100"/>
        </p:scale>
        <p:origin x="78" y="3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slide" Target="slides/slide25.xml"/><Relationship Id="rId50" Type="http://schemas.openxmlformats.org/officeDocument/2006/relationships/slide" Target="slides/slide28.xml"/><Relationship Id="rId55" Type="http://schemas.openxmlformats.org/officeDocument/2006/relationships/slide" Target="slides/slide33.xml"/><Relationship Id="rId63" Type="http://schemas.openxmlformats.org/officeDocument/2006/relationships/slide" Target="slides/slide41.xml"/><Relationship Id="rId68" Type="http://schemas.openxmlformats.org/officeDocument/2006/relationships/slide" Target="slides/slide46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9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3" Type="http://schemas.openxmlformats.org/officeDocument/2006/relationships/slide" Target="slides/slide31.xml"/><Relationship Id="rId58" Type="http://schemas.openxmlformats.org/officeDocument/2006/relationships/slide" Target="slides/slide36.xml"/><Relationship Id="rId66" Type="http://schemas.openxmlformats.org/officeDocument/2006/relationships/slide" Target="slides/slide44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slide" Target="slides/slide27.xml"/><Relationship Id="rId57" Type="http://schemas.openxmlformats.org/officeDocument/2006/relationships/slide" Target="slides/slide35.xml"/><Relationship Id="rId61" Type="http://schemas.openxmlformats.org/officeDocument/2006/relationships/slide" Target="slides/slide39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slide" Target="slides/slide30.xml"/><Relationship Id="rId60" Type="http://schemas.openxmlformats.org/officeDocument/2006/relationships/slide" Target="slides/slide38.xml"/><Relationship Id="rId65" Type="http://schemas.openxmlformats.org/officeDocument/2006/relationships/slide" Target="slides/slide43.xml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slide" Target="slides/slide26.xml"/><Relationship Id="rId56" Type="http://schemas.openxmlformats.org/officeDocument/2006/relationships/slide" Target="slides/slide34.xml"/><Relationship Id="rId64" Type="http://schemas.openxmlformats.org/officeDocument/2006/relationships/slide" Target="slides/slide42.xml"/><Relationship Id="rId69" Type="http://schemas.openxmlformats.org/officeDocument/2006/relationships/slide" Target="slides/slide4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9.xml"/><Relationship Id="rId72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slide" Target="slides/slide24.xml"/><Relationship Id="rId59" Type="http://schemas.openxmlformats.org/officeDocument/2006/relationships/slide" Target="slides/slide37.xml"/><Relationship Id="rId67" Type="http://schemas.openxmlformats.org/officeDocument/2006/relationships/slide" Target="slides/slide45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9.xml"/><Relationship Id="rId54" Type="http://schemas.openxmlformats.org/officeDocument/2006/relationships/slide" Target="slides/slide32.xml"/><Relationship Id="rId62" Type="http://schemas.openxmlformats.org/officeDocument/2006/relationships/slide" Target="slides/slide40.xml"/><Relationship Id="rId70" Type="http://schemas.openxmlformats.org/officeDocument/2006/relationships/slide" Target="slides/slide48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2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5.bin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_____Microsoft_Excel7.xlsx"/><Relationship Id="rId1" Type="http://schemas.openxmlformats.org/officeDocument/2006/relationships/themeOverride" Target="../theme/themeOverride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1\&#1075;&#1088;&#1072;&#1092;&#1080;&#1082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1\&#1075;&#1088;&#1072;&#1092;&#1080;&#1082;&#1080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1\&#1075;&#1088;&#1072;&#1092;&#1080;&#1082;&#1080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1\&#1075;&#1088;&#1072;&#1092;&#1080;&#1082;&#1080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&#1044;&#1080;&#1072;&#1075;&#1088;&#1072;&#1084;&#1084;&#1072;%20&#1074;%20Microsoft%20PowerPoint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088483841447995"/>
          <c:y val="2.2700123033475236E-2"/>
          <c:w val="0.72835013593836306"/>
          <c:h val="0.9583831077719621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A437"/>
            </a:solidFill>
            <a:ln>
              <a:noFill/>
            </a:ln>
            <a:effectLst/>
          </c:spPr>
          <c:invertIfNegative val="0"/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05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62,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89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471,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537,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6.4890705147364822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62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063,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r>
                      <a:rPr lang="en-US" baseline="0" smtClean="0"/>
                      <a:t> 001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 125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9.0369016617140967E-3"/>
                  <c:y val="-3.852628420947364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 414,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7:$A$17</c:f>
              <c:strCache>
                <c:ptCount val="11"/>
                <c:pt idx="0">
                  <c:v>Чукотский авт.округ</c:v>
                </c:pt>
                <c:pt idx="1">
                  <c:v>Еврейская авт.область</c:v>
                </c:pt>
                <c:pt idx="2">
                  <c:v>Камчатский край</c:v>
                </c:pt>
                <c:pt idx="3">
                  <c:v>Магаданская область</c:v>
                </c:pt>
                <c:pt idx="4">
                  <c:v>Сахалинская область</c:v>
                </c:pt>
                <c:pt idx="5">
                  <c:v>Приморский край</c:v>
                </c:pt>
                <c:pt idx="6">
                  <c:v>Амурская область</c:v>
                </c:pt>
                <c:pt idx="7">
                  <c:v>Хабаровский край</c:v>
                </c:pt>
                <c:pt idx="8">
                  <c:v>Республика Саха (Якутия)</c:v>
                </c:pt>
                <c:pt idx="9">
                  <c:v>Республика Бурятия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C$7:$C$17</c:f>
              <c:numCache>
                <c:formatCode>#,##0.0</c:formatCode>
                <c:ptCount val="11"/>
                <c:pt idx="0">
                  <c:v>118.06579999999998</c:v>
                </c:pt>
                <c:pt idx="1">
                  <c:v>228.6593</c:v>
                </c:pt>
                <c:pt idx="2">
                  <c:v>240.12950000000001</c:v>
                </c:pt>
                <c:pt idx="3">
                  <c:v>393.21919999999994</c:v>
                </c:pt>
                <c:pt idx="4">
                  <c:v>486.5575</c:v>
                </c:pt>
                <c:pt idx="5">
                  <c:v>562.91679999999997</c:v>
                </c:pt>
                <c:pt idx="6">
                  <c:v>775.5218000000001</c:v>
                </c:pt>
                <c:pt idx="7">
                  <c:v>947.42450000000008</c:v>
                </c:pt>
                <c:pt idx="8">
                  <c:v>964.94990000000007</c:v>
                </c:pt>
                <c:pt idx="9">
                  <c:v>995.42320000000007</c:v>
                </c:pt>
                <c:pt idx="10">
                  <c:v>1275.0057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17105480"/>
        <c:axId val="317109792"/>
      </c:barChart>
      <c:catAx>
        <c:axId val="317105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317109792"/>
        <c:crosses val="autoZero"/>
        <c:auto val="1"/>
        <c:lblAlgn val="ctr"/>
        <c:lblOffset val="100"/>
        <c:noMultiLvlLbl val="0"/>
      </c:catAx>
      <c:valAx>
        <c:axId val="317109792"/>
        <c:scaling>
          <c:orientation val="minMax"/>
        </c:scaling>
        <c:delete val="1"/>
        <c:axPos val="b"/>
        <c:numFmt formatCode="#,##0.0" sourceLinked="1"/>
        <c:majorTickMark val="none"/>
        <c:minorTickMark val="none"/>
        <c:tickLblPos val="nextTo"/>
        <c:crossAx val="317105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ysClr val="windowText" lastClr="000000"/>
          </a:solidFill>
          <a:latin typeface="+mn-lt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layout>
        <c:manualLayout>
          <c:xMode val="edge"/>
          <c:yMode val="edge"/>
          <c:x val="0.45131114207612044"/>
          <c:y val="4.737367966850361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3259488176002877"/>
          <c:y val="0"/>
          <c:w val="0.61321777253690202"/>
          <c:h val="0.8626264320461337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21 год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A$2:$A$5</c:f>
              <c:strCache>
                <c:ptCount val="3"/>
                <c:pt idx="0">
                  <c:v>Фактическая добыча волка</c:v>
                </c:pt>
                <c:pt idx="1">
                  <c:v>Максимально допустимая численность волка</c:v>
                </c:pt>
                <c:pt idx="2">
                  <c:v>Количество особей подлежащих добыче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32</c:v>
                </c:pt>
                <c:pt idx="1">
                  <c:v>1900</c:v>
                </c:pt>
                <c:pt idx="2">
                  <c:v>29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217362226140541E-2"/>
          <c:y val="8.0367456054071779E-2"/>
          <c:w val="0.61477003366257943"/>
          <c:h val="0.71959051053777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ействующие лицензии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3"/>
                <c:pt idx="0">
                  <c:v>574</c:v>
                </c:pt>
                <c:pt idx="1">
                  <c:v>648</c:v>
                </c:pt>
                <c:pt idx="2">
                  <c:v>67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дано лицензий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3"/>
                <c:pt idx="0">
                  <c:v>75</c:v>
                </c:pt>
                <c:pt idx="1">
                  <c:v>81</c:v>
                </c:pt>
                <c:pt idx="2">
                  <c:v>8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екращено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D$2:$D$5</c:f>
              <c:numCache>
                <c:formatCode>General</c:formatCode>
                <c:ptCount val="3"/>
                <c:pt idx="0">
                  <c:v>43</c:v>
                </c:pt>
                <c:pt idx="1">
                  <c:v>11</c:v>
                </c:pt>
                <c:pt idx="2">
                  <c:v>4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22219720"/>
        <c:axId val="322213448"/>
      </c:barChart>
      <c:catAx>
        <c:axId val="3222197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2213448"/>
        <c:crosses val="autoZero"/>
        <c:auto val="1"/>
        <c:lblAlgn val="ctr"/>
        <c:lblOffset val="100"/>
        <c:noMultiLvlLbl val="0"/>
      </c:catAx>
      <c:valAx>
        <c:axId val="322213448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2219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ru-RU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pieChart>
        <c:varyColors val="1"/>
        <c:ser>
          <c:idx val="0"/>
          <c:order val="0"/>
          <c:explosion val="8"/>
          <c:dPt>
            <c:idx val="0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0.21273261037631375"/>
                  <c:y val="-0.174668610908585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66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23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5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XLS Worksheet'!$B$31:$B$33</c:f>
              <c:strCache>
                <c:ptCount val="3"/>
                <c:pt idx="0">
                  <c:v>добыча подземных вод</c:v>
                </c:pt>
                <c:pt idx="1">
                  <c:v>исполнение государственных контрактов</c:v>
                </c:pt>
                <c:pt idx="2">
                  <c:v>на геологическое изучение, разведку и добычу ОПИ (кроме воды)</c:v>
                </c:pt>
              </c:strCache>
            </c:strRef>
          </c:cat>
          <c:val>
            <c:numRef>
              <c:f>'XLS Worksheet'!$C$31:$C$33</c:f>
              <c:numCache>
                <c:formatCode>General</c:formatCode>
                <c:ptCount val="3"/>
                <c:pt idx="0">
                  <c:v>413</c:v>
                </c:pt>
                <c:pt idx="1">
                  <c:v>97</c:v>
                </c:pt>
                <c:pt idx="2">
                  <c:v>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31160283332289"/>
          <c:y val="0.11350414887338124"/>
          <c:w val="0.33300131636682756"/>
          <c:h val="0.78181022810123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амень строительный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300</c:v>
                </c:pt>
                <c:pt idx="1">
                  <c:v>9600</c:v>
                </c:pt>
                <c:pt idx="2">
                  <c:v>205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сок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400</c:v>
                </c:pt>
                <c:pt idx="1">
                  <c:v>1500</c:v>
                </c:pt>
                <c:pt idx="2">
                  <c:v>40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есчано-гравийные породы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000</c:v>
                </c:pt>
                <c:pt idx="1">
                  <c:v>3200</c:v>
                </c:pt>
                <c:pt idx="2">
                  <c:v>3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209920"/>
        <c:axId val="322213840"/>
        <c:axId val="0"/>
      </c:bar3DChart>
      <c:catAx>
        <c:axId val="322209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2213840"/>
        <c:crosses val="autoZero"/>
        <c:auto val="1"/>
        <c:lblAlgn val="ctr"/>
        <c:lblOffset val="100"/>
        <c:noMultiLvlLbl val="0"/>
      </c:catAx>
      <c:valAx>
        <c:axId val="3222138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2209920"/>
        <c:crosses val="autoZero"/>
        <c:crossBetween val="between"/>
      </c:valAx>
      <c:spPr>
        <a:noFill/>
        <a:ln w="25403">
          <a:noFill/>
        </a:ln>
      </c:spPr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быча </c:v>
                </c:pt>
              </c:strCache>
            </c:strRef>
          </c:tx>
          <c:spPr>
            <a:solidFill>
              <a:srgbClr val="FFC000">
                <a:lumMod val="75000"/>
              </a:srgbClr>
            </a:solidFill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062</c:v>
                </c:pt>
                <c:pt idx="1">
                  <c:v>1400</c:v>
                </c:pt>
                <c:pt idx="2">
                  <c:v>14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ноз 2021</c:v>
                </c:pt>
              </c:strCache>
            </c:strRef>
          </c:tx>
          <c:spPr>
            <a:pattFill prst="wdUpDiag">
              <a:fgClr>
                <a:srgbClr val="FF0000"/>
              </a:fgClr>
              <a:bgClr>
                <a:sysClr val="window" lastClr="FFFFFF"/>
              </a:bgClr>
            </a:pattFill>
            <a:ln>
              <a:solidFill>
                <a:srgbClr val="FF0000"/>
              </a:solidFill>
            </a:ln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2">
                  <c:v>16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219328"/>
        <c:axId val="314842448"/>
        <c:axId val="0"/>
      </c:bar3DChart>
      <c:catAx>
        <c:axId val="322219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14842448"/>
        <c:crosses val="autoZero"/>
        <c:auto val="1"/>
        <c:lblAlgn val="ctr"/>
        <c:lblOffset val="100"/>
        <c:noMultiLvlLbl val="0"/>
      </c:catAx>
      <c:valAx>
        <c:axId val="3148424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2219328"/>
        <c:crosses val="autoZero"/>
        <c:crossBetween val="between"/>
      </c:valAx>
      <c:spPr>
        <a:noFill/>
        <a:ln w="25399">
          <a:noFill/>
        </a:ln>
      </c:spPr>
    </c:plotArea>
    <c:legend>
      <c:legendPos val="b"/>
      <c:layout>
        <c:manualLayout>
          <c:xMode val="edge"/>
          <c:yMode val="edge"/>
          <c:x val="0.17032323014417719"/>
          <c:y val="0.81849940223440654"/>
          <c:w val="0.81156054123371568"/>
          <c:h val="0.1448513831059075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507"/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956819155894587E-2"/>
          <c:y val="5.8179186167096809E-2"/>
          <c:w val="0.95854999761892434"/>
          <c:h val="0.62982290278635922"/>
        </c:manualLayout>
      </c:layout>
      <c:lineChart>
        <c:grouping val="stacked"/>
        <c:varyColors val="0"/>
        <c:ser>
          <c:idx val="0"/>
          <c:order val="0"/>
          <c:tx>
            <c:strRef>
              <c:f>Лист2!$F$28</c:f>
              <c:strCache>
                <c:ptCount val="1"/>
                <c:pt idx="0">
                  <c:v>общий объем</c:v>
                </c:pt>
              </c:strCache>
            </c:strRef>
          </c:tx>
          <c:spPr>
            <a:ln w="381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95,9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8.1713163652418194E-2"/>
                  <c:y val="0.1563565628240726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04,1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75,0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1869724617756114"/>
                  <c:y val="0.1764249462730104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414,7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9060557742288558E-3"/>
                  <c:y val="0.1232940642914364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997,9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271921865520824"/>
                      <c:h val="0.31998552391903246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2!$E$29:$E$33</c:f>
              <c:strCache>
                <c:ptCount val="5"/>
                <c:pt idx="0">
                  <c:v>2018 г.</c:v>
                </c:pt>
                <c:pt idx="1">
                  <c:v>2019 г.</c:v>
                </c:pt>
                <c:pt idx="2">
                  <c:v>2020 г.</c:v>
                </c:pt>
                <c:pt idx="3">
                  <c:v>2021 г.</c:v>
                </c:pt>
                <c:pt idx="4">
                  <c:v>2022 г.</c:v>
                </c:pt>
              </c:strCache>
            </c:strRef>
          </c:cat>
          <c:val>
            <c:numRef>
              <c:f>Лист2!$F$29:$F$33</c:f>
              <c:numCache>
                <c:formatCode>#,##0.0</c:formatCode>
                <c:ptCount val="5"/>
                <c:pt idx="0">
                  <c:v>540.70000000000005</c:v>
                </c:pt>
                <c:pt idx="1">
                  <c:v>995.9</c:v>
                </c:pt>
                <c:pt idx="2">
                  <c:v>1204.0999999999999</c:v>
                </c:pt>
                <c:pt idx="3">
                  <c:v>1275</c:v>
                </c:pt>
                <c:pt idx="4">
                  <c:v>1357.9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17110184"/>
        <c:axId val="317107832"/>
      </c:lineChart>
      <c:catAx>
        <c:axId val="317110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0"/>
            </a:pPr>
            <a:endParaRPr lang="ru-RU"/>
          </a:p>
        </c:txPr>
        <c:crossAx val="317107832"/>
        <c:crosses val="autoZero"/>
        <c:auto val="1"/>
        <c:lblAlgn val="ctr"/>
        <c:lblOffset val="100"/>
        <c:noMultiLvlLbl val="0"/>
      </c:catAx>
      <c:valAx>
        <c:axId val="317107832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317110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265177080583087"/>
          <c:y val="4.5860359394221784E-2"/>
          <c:w val="0.31600316828399938"/>
          <c:h val="0.4322742322379920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6.6666666666666666E-2"/>
                  <c:y val="-7.87037037037037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888888888888889E-2"/>
                  <c:y val="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6.9444444444444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7.2222222222222271E-2"/>
                  <c:y val="-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4.5776116941758059E-3"/>
                  <c:y val="-3.4562610415215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заготовка древесины'!$A$34:$A$38</c:f>
              <c:strCache>
                <c:ptCount val="5"/>
                <c:pt idx="0">
                  <c:v>по договорам аренды (в целях заготовки древесины)</c:v>
                </c:pt>
                <c:pt idx="1">
                  <c:v>по договорам аренды (ст. 43-46 ЛК РФ)</c:v>
                </c:pt>
                <c:pt idx="2">
                  <c:v>по договорам купли-продажи (субъекты МСП)</c:v>
                </c:pt>
                <c:pt idx="3">
                  <c:v>по договорам купли-продажи (граждане для с/н)</c:v>
                </c:pt>
                <c:pt idx="4">
                  <c:v>по иным основаниям (госзадания и госконтракты на выполнение работ по ОЗВЛ)</c:v>
                </c:pt>
              </c:strCache>
            </c:strRef>
          </c:cat>
          <c:val>
            <c:numRef>
              <c:f>'заготовка древесины'!$B$34:$B$38</c:f>
              <c:numCache>
                <c:formatCode>General</c:formatCode>
                <c:ptCount val="5"/>
                <c:pt idx="0">
                  <c:v>38.700000000000003</c:v>
                </c:pt>
                <c:pt idx="1">
                  <c:v>7.2</c:v>
                </c:pt>
                <c:pt idx="2">
                  <c:v>4.9000000000000004</c:v>
                </c:pt>
                <c:pt idx="3">
                  <c:v>46.4</c:v>
                </c:pt>
                <c:pt idx="4">
                  <c:v>2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1966165322068325E-2"/>
          <c:y val="0.539649727458971"/>
          <c:w val="0.89149005766168743"/>
          <c:h val="0.42590976438945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заготовка древесины'!$A$28</c:f>
              <c:strCache>
                <c:ptCount val="1"/>
                <c:pt idx="0">
                  <c:v>арендаторами лесных участков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27:$D$2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заготовка древесины'!$B$28:$D$28</c:f>
              <c:numCache>
                <c:formatCode>General</c:formatCode>
                <c:ptCount val="3"/>
                <c:pt idx="0">
                  <c:v>24.5</c:v>
                </c:pt>
                <c:pt idx="1">
                  <c:v>46.2</c:v>
                </c:pt>
                <c:pt idx="2">
                  <c:v>41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заготовка древесины'!$A$29</c:f>
              <c:strCache>
                <c:ptCount val="1"/>
                <c:pt idx="0">
                  <c:v>всего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0312403304342347E-2"/>
                  <c:y val="5.63415935077759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696917043228277E-2"/>
                  <c:y val="3.68575573769066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27:$D$27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заготовка древесины'!$B$29:$D$29</c:f>
              <c:numCache>
                <c:formatCode>General</c:formatCode>
                <c:ptCount val="3"/>
                <c:pt idx="0">
                  <c:v>14.6</c:v>
                </c:pt>
                <c:pt idx="1">
                  <c:v>13.2</c:v>
                </c:pt>
                <c:pt idx="2">
                  <c:v>11.1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34327864"/>
        <c:axId val="234328248"/>
      </c:lineChart>
      <c:catAx>
        <c:axId val="234327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328248"/>
        <c:crosses val="autoZero"/>
        <c:auto val="1"/>
        <c:lblAlgn val="ctr"/>
        <c:lblOffset val="100"/>
        <c:noMultiLvlLbl val="0"/>
      </c:catAx>
      <c:valAx>
        <c:axId val="234328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34327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заготовка древесины'!$A$5</c:f>
              <c:strCache>
                <c:ptCount val="1"/>
                <c:pt idx="0">
                  <c:v>всего заготовлен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заготовка древесины'!$B$5:$D$5</c:f>
              <c:numCache>
                <c:formatCode>General</c:formatCode>
                <c:ptCount val="3"/>
                <c:pt idx="0">
                  <c:v>1695.8</c:v>
                </c:pt>
                <c:pt idx="1">
                  <c:v>1534.9</c:v>
                </c:pt>
                <c:pt idx="2">
                  <c:v>1292.7</c:v>
                </c:pt>
              </c:numCache>
            </c:numRef>
          </c:val>
        </c:ser>
        <c:ser>
          <c:idx val="1"/>
          <c:order val="1"/>
          <c:tx>
            <c:strRef>
              <c:f>'заготовка древесины'!$A$6</c:f>
              <c:strCache>
                <c:ptCount val="1"/>
                <c:pt idx="0">
                  <c:v>арендаторами лесных участков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заготовка древесины'!$B$6:$D$6</c:f>
              <c:numCache>
                <c:formatCode>General</c:formatCode>
                <c:ptCount val="3"/>
                <c:pt idx="0">
                  <c:v>624.1</c:v>
                </c:pt>
                <c:pt idx="1">
                  <c:v>594.29999999999995</c:v>
                </c:pt>
                <c:pt idx="2">
                  <c:v>530.6</c:v>
                </c:pt>
              </c:numCache>
            </c:numRef>
          </c:val>
        </c:ser>
        <c:ser>
          <c:idx val="2"/>
          <c:order val="2"/>
          <c:tx>
            <c:strRef>
              <c:f>'заготовка древесины'!$A$7</c:f>
              <c:strCache>
                <c:ptCount val="1"/>
                <c:pt idx="0">
                  <c:v>гражданами для собственных нужд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заготовка древесины'!$B$7:$D$7</c:f>
              <c:numCache>
                <c:formatCode>General</c:formatCode>
                <c:ptCount val="3"/>
                <c:pt idx="0">
                  <c:v>765.3</c:v>
                </c:pt>
                <c:pt idx="1">
                  <c:v>712.3</c:v>
                </c:pt>
                <c:pt idx="2">
                  <c:v>713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34351344"/>
        <c:axId val="234351728"/>
      </c:barChart>
      <c:catAx>
        <c:axId val="234351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351728"/>
        <c:crosses val="autoZero"/>
        <c:auto val="1"/>
        <c:lblAlgn val="ctr"/>
        <c:lblOffset val="100"/>
        <c:noMultiLvlLbl val="0"/>
      </c:catAx>
      <c:valAx>
        <c:axId val="234351728"/>
        <c:scaling>
          <c:orientation val="minMax"/>
          <c:max val="1800"/>
        </c:scaling>
        <c:delete val="1"/>
        <c:axPos val="l"/>
        <c:numFmt formatCode="General" sourceLinked="1"/>
        <c:majorTickMark val="none"/>
        <c:minorTickMark val="none"/>
        <c:tickLblPos val="nextTo"/>
        <c:crossAx val="234351344"/>
        <c:crosses val="autoZero"/>
        <c:crossBetween val="between"/>
        <c:majorUnit val="300"/>
        <c:minorUnit val="50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использование лесов'!$A$5</c:f>
              <c:strCache>
                <c:ptCount val="1"/>
                <c:pt idx="0">
                  <c:v>площадь, тыс.г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0.2015534931721019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использование лесов'!$B$4:$D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использование лесов'!$B$5:$D$5</c:f>
              <c:numCache>
                <c:formatCode>General</c:formatCode>
                <c:ptCount val="3"/>
                <c:pt idx="0">
                  <c:v>62.8</c:v>
                </c:pt>
                <c:pt idx="1">
                  <c:v>46</c:v>
                </c:pt>
                <c:pt idx="2" formatCode="0.0">
                  <c:v>153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913104"/>
        <c:axId val="176910360"/>
      </c:barChart>
      <c:lineChart>
        <c:grouping val="standard"/>
        <c:varyColors val="0"/>
        <c:ser>
          <c:idx val="1"/>
          <c:order val="1"/>
          <c:tx>
            <c:strRef>
              <c:f>'использование лесов'!$A$6</c:f>
              <c:strCache>
                <c:ptCount val="1"/>
                <c:pt idx="0">
                  <c:v>количество договоров, шт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992603939202835E-2"/>
                  <c:y val="-8.41892243729173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0736413077589149E-2"/>
                  <c:y val="-0.122320966324396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934726444051124E-2"/>
                  <c:y val="-0.121123398005739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использование лесов'!$B$4:$D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'использование лесов'!$B$6:$D$6</c:f>
              <c:numCache>
                <c:formatCode>General</c:formatCode>
                <c:ptCount val="3"/>
                <c:pt idx="0">
                  <c:v>135</c:v>
                </c:pt>
                <c:pt idx="1">
                  <c:v>119</c:v>
                </c:pt>
                <c:pt idx="2">
                  <c:v>14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910752"/>
        <c:axId val="176912320"/>
      </c:lineChart>
      <c:catAx>
        <c:axId val="176913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6910360"/>
        <c:crosses val="autoZero"/>
        <c:auto val="1"/>
        <c:lblAlgn val="ctr"/>
        <c:lblOffset val="100"/>
        <c:tickMarkSkip val="50"/>
        <c:noMultiLvlLbl val="0"/>
      </c:catAx>
      <c:valAx>
        <c:axId val="1769103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76913104"/>
        <c:crosses val="autoZero"/>
        <c:crossBetween val="between"/>
      </c:valAx>
      <c:valAx>
        <c:axId val="176912320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76910752"/>
        <c:crosses val="max"/>
        <c:crossBetween val="between"/>
      </c:valAx>
      <c:catAx>
        <c:axId val="1769107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76912320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есовосстановление!$B$6</c:f>
              <c:strCache>
                <c:ptCount val="1"/>
                <c:pt idx="0">
                  <c:v>лесовосстановление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овосстановление!$C$5:$E$5</c:f>
              <c:strCache>
                <c:ptCount val="3"/>
                <c:pt idx="0">
                  <c:v>2020</c:v>
                </c:pt>
                <c:pt idx="1">
                  <c:v>2021</c:v>
                </c:pt>
                <c:pt idx="2">
                  <c:v>2022 план</c:v>
                </c:pt>
              </c:strCache>
            </c:strRef>
          </c:cat>
          <c:val>
            <c:numRef>
              <c:f>лесовосстановление!$C$6:$E$6</c:f>
              <c:numCache>
                <c:formatCode>General</c:formatCode>
                <c:ptCount val="3"/>
                <c:pt idx="0">
                  <c:v>24112</c:v>
                </c:pt>
                <c:pt idx="1">
                  <c:v>23613.5</c:v>
                </c:pt>
                <c:pt idx="2">
                  <c:v>51283</c:v>
                </c:pt>
              </c:numCache>
            </c:numRef>
          </c:val>
        </c:ser>
        <c:ser>
          <c:idx val="1"/>
          <c:order val="1"/>
          <c:tx>
            <c:strRef>
              <c:f>лесовосстановление!$B$7</c:f>
              <c:strCache>
                <c:ptCount val="1"/>
                <c:pt idx="0">
                  <c:v>в т.ч. создание лесных культур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овосстановление!$C$5:$E$5</c:f>
              <c:strCache>
                <c:ptCount val="3"/>
                <c:pt idx="0">
                  <c:v>2020</c:v>
                </c:pt>
                <c:pt idx="1">
                  <c:v>2021</c:v>
                </c:pt>
                <c:pt idx="2">
                  <c:v>2022 план</c:v>
                </c:pt>
              </c:strCache>
            </c:strRef>
          </c:cat>
          <c:val>
            <c:numRef>
              <c:f>лесовосстановление!$C$7:$E$7</c:f>
              <c:numCache>
                <c:formatCode>General</c:formatCode>
                <c:ptCount val="3"/>
                <c:pt idx="0">
                  <c:v>2042</c:v>
                </c:pt>
                <c:pt idx="1">
                  <c:v>3400.49</c:v>
                </c:pt>
                <c:pt idx="2">
                  <c:v>389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34026640"/>
        <c:axId val="234028992"/>
      </c:barChart>
      <c:catAx>
        <c:axId val="234026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028992"/>
        <c:crosses val="autoZero"/>
        <c:auto val="1"/>
        <c:lblAlgn val="ctr"/>
        <c:lblOffset val="100"/>
        <c:noMultiLvlLbl val="0"/>
      </c:catAx>
      <c:valAx>
        <c:axId val="23402899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34026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/>
              <a:t>Кредиторская задолженность </a:t>
            </a:r>
            <a:r>
              <a:rPr lang="ru-RU" sz="1400" dirty="0" err="1"/>
              <a:t>регоператора</a:t>
            </a:r>
            <a:endParaRPr lang="ru-RU" sz="1400" dirty="0"/>
          </a:p>
        </c:rich>
      </c:tx>
      <c:layout/>
      <c:overlay val="0"/>
      <c:spPr>
        <a:solidFill>
          <a:schemeClr val="accent5">
            <a:lumMod val="20000"/>
            <a:lumOff val="8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333605804743538E-2"/>
          <c:y val="0.28461416980699111"/>
          <c:w val="0.9011661146364397"/>
          <c:h val="0.58912515607099825"/>
        </c:manualLayout>
      </c:layout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Диаграмма в Microsoft PowerPoint]Лист1'!$A$2:$A$5</c:f>
              <c:strCache>
                <c:ptCount val="3"/>
                <c:pt idx="0">
                  <c:v>Транспортировка ТКО, млн.руб.</c:v>
                </c:pt>
                <c:pt idx="1">
                  <c:v>Захоронение ТКО, млн.руб.</c:v>
                </c:pt>
                <c:pt idx="2">
                  <c:v>Прочие затраты, млн.руб.</c:v>
                </c:pt>
              </c:strCache>
            </c:strRef>
          </c:cat>
          <c:val>
            <c:numRef>
              <c:f>'[Диаграмма в Microsoft PowerPoint]Лист1'!$B$2:$B$5</c:f>
              <c:numCache>
                <c:formatCode>General</c:formatCode>
                <c:ptCount val="4"/>
                <c:pt idx="0">
                  <c:v>303.3</c:v>
                </c:pt>
                <c:pt idx="1">
                  <c:v>159.19999999999999</c:v>
                </c:pt>
                <c:pt idx="2">
                  <c:v>47</c:v>
                </c:pt>
              </c:numCache>
            </c:numRef>
          </c:val>
        </c:ser>
        <c:ser>
          <c:idx val="1"/>
          <c:order val="1"/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Диаграмма в Microsoft PowerPoint]Лист1'!$A$2:$A$5</c:f>
              <c:strCache>
                <c:ptCount val="3"/>
                <c:pt idx="0">
                  <c:v>Транспортировка ТКО, млн.руб.</c:v>
                </c:pt>
                <c:pt idx="1">
                  <c:v>Захоронение ТКО, млн.руб.</c:v>
                </c:pt>
                <c:pt idx="2">
                  <c:v>Прочие затраты, млн.руб.</c:v>
                </c:pt>
              </c:strCache>
            </c:strRef>
          </c:cat>
          <c:val>
            <c:numRef>
              <c:f>'[Диаграмма в Microsoft PowerPoint]Лист1'!$C$2:$C$5</c:f>
              <c:numCache>
                <c:formatCode>General</c:formatCode>
                <c:ptCount val="4"/>
                <c:pt idx="0">
                  <c:v>426.9</c:v>
                </c:pt>
                <c:pt idx="1">
                  <c:v>201.5</c:v>
                </c:pt>
                <c:pt idx="2">
                  <c:v>30.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4"/>
        <c:overlap val="-22"/>
        <c:axId val="234029776"/>
        <c:axId val="234031736"/>
      </c:barChart>
      <c:catAx>
        <c:axId val="234029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031736"/>
        <c:crosses val="autoZero"/>
        <c:auto val="1"/>
        <c:lblAlgn val="ctr"/>
        <c:lblOffset val="100"/>
        <c:noMultiLvlLbl val="0"/>
      </c:catAx>
      <c:valAx>
        <c:axId val="234031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029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4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A$2:$A$5</c:f>
              <c:strCache>
                <c:ptCount val="3"/>
                <c:pt idx="0">
                  <c:v>2019 г.</c:v>
                </c:pt>
                <c:pt idx="1">
                  <c:v>2020 г.</c:v>
                </c:pt>
                <c:pt idx="2">
                  <c:v>2021 г.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01</c:v>
                </c:pt>
                <c:pt idx="1">
                  <c:v>426</c:v>
                </c:pt>
                <c:pt idx="2">
                  <c:v>6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11242806265555363"/>
          <c:y val="0.92677070416897145"/>
          <c:w val="0.73574693953046144"/>
          <c:h val="5.58188823474172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8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b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Защита населенных пунктов и жителей Забайкальского края от наводнений;</a:t>
          </a:r>
          <a:endParaRPr lang="ru-RU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/>
      <dgm:spPr>
        <a:ln>
          <a:solidFill>
            <a:srgbClr val="4472C4"/>
          </a:solidFill>
        </a:ln>
      </dgm:spPr>
      <dgm:t>
        <a:bodyPr/>
        <a:lstStyle/>
        <a:p>
          <a:pPr algn="just"/>
          <a:r>
            <a:rPr lang="ru-RU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/>
      <dgm:spPr>
        <a:ln>
          <a:solidFill>
            <a:srgbClr val="92D050"/>
          </a:solidFill>
        </a:ln>
      </dgm:spPr>
      <dgm:t>
        <a:bodyPr/>
        <a:lstStyle/>
        <a:p>
          <a:pPr algn="just"/>
          <a:r>
            <a:rPr lang="ru-RU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 и их биологического разнообразия</a:t>
          </a:r>
          <a:endParaRPr lang="ru-RU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B347819F-C25D-4DB3-A076-404D78198FA2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pPr algn="l"/>
          <a:r>
            <a:rPr lang="ru-RU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Развитие минерально-сырьевой базы полезных ископаемых и подземных вод</a:t>
          </a:r>
          <a:endParaRPr lang="ru-RU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FA019B-01CF-45F4-AA00-2FC64FD7EBB9}" type="parTrans" cxnId="{848E75A1-F075-42FC-83FF-08EA10057EE6}">
      <dgm:prSet/>
      <dgm:spPr/>
      <dgm:t>
        <a:bodyPr/>
        <a:lstStyle/>
        <a:p>
          <a:endParaRPr lang="ru-RU"/>
        </a:p>
      </dgm:t>
    </dgm:pt>
    <dgm:pt modelId="{F85F229E-1807-413D-B35F-3C91CE878D3D}" type="sibTrans" cxnId="{848E75A1-F075-42FC-83FF-08EA10057EE6}">
      <dgm:prSet/>
      <dgm:spPr/>
      <dgm:t>
        <a:bodyPr/>
        <a:lstStyle/>
        <a:p>
          <a:endParaRPr lang="ru-RU"/>
        </a:p>
      </dgm:t>
    </dgm:pt>
    <dgm:pt modelId="{EA5F3611-A31E-4170-8345-B6FC2AF44E37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pPr algn="l"/>
          <a:r>
            <a:rPr lang="ru-RU" b="0" dirty="0" smtClean="0"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</a:t>
          </a:r>
          <a:r>
            <a:rPr lang="ru-RU" b="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; </a:t>
          </a:r>
          <a:endParaRPr lang="ru-RU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200C90-AE8C-43F5-ACE3-7188AE6F768A}" type="parTrans" cxnId="{E89D0DE7-3065-43B7-B91A-21F50A1C9B68}">
      <dgm:prSet/>
      <dgm:spPr/>
      <dgm:t>
        <a:bodyPr/>
        <a:lstStyle/>
        <a:p>
          <a:endParaRPr lang="ru-RU"/>
        </a:p>
      </dgm:t>
    </dgm:pt>
    <dgm:pt modelId="{16AA1A51-B66D-4077-B78A-610E274356D6}" type="sibTrans" cxnId="{E89D0DE7-3065-43B7-B91A-21F50A1C9B68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89D0DE7-3065-43B7-B91A-21F50A1C9B68}" srcId="{18728B41-1962-40FC-B86A-9356146B5A68}" destId="{EA5F3611-A31E-4170-8345-B6FC2AF44E37}" srcOrd="1" destOrd="0" parTransId="{0D200C90-AE8C-43F5-ACE3-7188AE6F768A}" sibTransId="{16AA1A51-B66D-4077-B78A-610E274356D6}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8E37456B-9D8F-4B42-B051-B74194E06CEF}" type="presOf" srcId="{DEA64100-CF05-47A1-B324-B7A5DDB36E93}" destId="{29C5F787-6539-40B8-B7D2-7E50296FD528}" srcOrd="0" destOrd="0" presId="urn:microsoft.com/office/officeart/2005/8/layout/chevron2"/>
    <dgm:cxn modelId="{ADE01990-207B-4668-A28F-338629C52D36}" type="presOf" srcId="{1ABDF41F-8084-474E-8ACB-67C32FF2A1EF}" destId="{054E0B3D-A8D3-46C8-8CC8-57479A6700D3}" srcOrd="0" destOrd="0" presId="urn:microsoft.com/office/officeart/2005/8/layout/chevron2"/>
    <dgm:cxn modelId="{4412B45B-A5FC-4657-B4F4-8EC88A42F469}" type="presOf" srcId="{58CB288E-F9F4-4BB8-9851-2A6C7C3578F4}" destId="{4BC5D174-82E1-455A-8266-2EF651317590}" srcOrd="0" destOrd="0" presId="urn:microsoft.com/office/officeart/2005/8/layout/chevron2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066D4112-57C3-4FF1-9738-5E599EB1F5B7}" type="presOf" srcId="{E8C4C2EF-81D2-4B22-8A1D-88D0C558CD53}" destId="{302FC55C-58A2-4FF3-96AC-10CFA0052481}" srcOrd="0" destOrd="0" presId="urn:microsoft.com/office/officeart/2005/8/layout/chevron2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AA52C352-361B-448F-B413-64E53C6D0153}" type="presOf" srcId="{18728B41-1962-40FC-B86A-9356146B5A68}" destId="{B3C1D9A3-46B4-4E40-BD14-497C0DCDB4DC}" srcOrd="0" destOrd="0" presId="urn:microsoft.com/office/officeart/2005/8/layout/chevron2"/>
    <dgm:cxn modelId="{8A2B04BE-39F0-4612-8AB4-37564ED7F775}" type="presOf" srcId="{B347819F-C25D-4DB3-A076-404D78198FA2}" destId="{BA1055A7-1216-4086-83B6-4D1BE3CE8907}" srcOrd="0" destOrd="2" presId="urn:microsoft.com/office/officeart/2005/8/layout/chevron2"/>
    <dgm:cxn modelId="{848E75A1-F075-42FC-83FF-08EA10057EE6}" srcId="{18728B41-1962-40FC-B86A-9356146B5A68}" destId="{B347819F-C25D-4DB3-A076-404D78198FA2}" srcOrd="2" destOrd="0" parTransId="{2AFA019B-01CF-45F4-AA00-2FC64FD7EBB9}" sibTransId="{F85F229E-1807-413D-B35F-3C91CE878D3D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00A0DB44-8540-43A0-AF02-233EC64A9B1C}" type="presOf" srcId="{EA5F3611-A31E-4170-8345-B6FC2AF44E37}" destId="{BA1055A7-1216-4086-83B6-4D1BE3CE8907}" srcOrd="0" destOrd="1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C15F86DB-1C15-4292-83E1-B150C4D5D1EF}" type="presOf" srcId="{D411A21B-1094-4E74-9F1B-CF6C6E2B675E}" destId="{CEB1617E-7ABE-4EBF-B914-C8E149BFD968}" srcOrd="0" destOrd="0" presId="urn:microsoft.com/office/officeart/2005/8/layout/chevron2"/>
    <dgm:cxn modelId="{97EC0C76-3154-4AEF-90D9-1442B7103A79}" type="presOf" srcId="{A2D40B80-A2E8-49E7-8480-DF0AD1F27530}" destId="{BA1055A7-1216-4086-83B6-4D1BE3CE8907}" srcOrd="0" destOrd="0" presId="urn:microsoft.com/office/officeart/2005/8/layout/chevron2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22428B91-7C17-40D4-A163-0FDB0A928C6D}" type="presParOf" srcId="{CEB1617E-7ABE-4EBF-B914-C8E149BFD968}" destId="{85B13D13-17B0-48B9-8B0B-E25A451A0D88}" srcOrd="0" destOrd="0" presId="urn:microsoft.com/office/officeart/2005/8/layout/chevron2"/>
    <dgm:cxn modelId="{294157FB-75D5-40DE-8818-78657D6E0B60}" type="presParOf" srcId="{85B13D13-17B0-48B9-8B0B-E25A451A0D88}" destId="{29C5F787-6539-40B8-B7D2-7E50296FD528}" srcOrd="0" destOrd="0" presId="urn:microsoft.com/office/officeart/2005/8/layout/chevron2"/>
    <dgm:cxn modelId="{D803B29A-92E7-4BD1-91AD-9DD16F03E3CC}" type="presParOf" srcId="{85B13D13-17B0-48B9-8B0B-E25A451A0D88}" destId="{4BC5D174-82E1-455A-8266-2EF651317590}" srcOrd="1" destOrd="0" presId="urn:microsoft.com/office/officeart/2005/8/layout/chevron2"/>
    <dgm:cxn modelId="{7AA68ADC-B059-44A5-B011-F6B72B59A75C}" type="presParOf" srcId="{CEB1617E-7ABE-4EBF-B914-C8E149BFD968}" destId="{F4A068E8-600F-46D8-82E3-B7B2E8ED51B3}" srcOrd="1" destOrd="0" presId="urn:microsoft.com/office/officeart/2005/8/layout/chevron2"/>
    <dgm:cxn modelId="{426BC6CD-A7A2-41CB-BCDB-5EB2C55F51EB}" type="presParOf" srcId="{CEB1617E-7ABE-4EBF-B914-C8E149BFD968}" destId="{90FA17FB-56EA-4A20-A631-3E2625120CA1}" srcOrd="2" destOrd="0" presId="urn:microsoft.com/office/officeart/2005/8/layout/chevron2"/>
    <dgm:cxn modelId="{360A7544-FECE-4547-82A0-BFFA319A85D5}" type="presParOf" srcId="{90FA17FB-56EA-4A20-A631-3E2625120CA1}" destId="{B3C1D9A3-46B4-4E40-BD14-497C0DCDB4DC}" srcOrd="0" destOrd="0" presId="urn:microsoft.com/office/officeart/2005/8/layout/chevron2"/>
    <dgm:cxn modelId="{B5242C25-7322-4474-A5A0-8D38CF36DD98}" type="presParOf" srcId="{90FA17FB-56EA-4A20-A631-3E2625120CA1}" destId="{BA1055A7-1216-4086-83B6-4D1BE3CE8907}" srcOrd="1" destOrd="0" presId="urn:microsoft.com/office/officeart/2005/8/layout/chevron2"/>
    <dgm:cxn modelId="{6F5A79F8-8096-497E-8A85-0A723CA35CA6}" type="presParOf" srcId="{CEB1617E-7ABE-4EBF-B914-C8E149BFD968}" destId="{6ACCA3A6-7906-4632-B4CE-95157EE0E867}" srcOrd="3" destOrd="0" presId="urn:microsoft.com/office/officeart/2005/8/layout/chevron2"/>
    <dgm:cxn modelId="{2B9A65F9-47B5-46B1-825E-290231EBADC1}" type="presParOf" srcId="{CEB1617E-7ABE-4EBF-B914-C8E149BFD968}" destId="{A26BA277-20E8-46F6-83B8-E92FFAE0EF5A}" srcOrd="4" destOrd="0" presId="urn:microsoft.com/office/officeart/2005/8/layout/chevron2"/>
    <dgm:cxn modelId="{3BE630A8-AD9C-4599-84E8-E2555D00185B}" type="presParOf" srcId="{A26BA277-20E8-46F6-83B8-E92FFAE0EF5A}" destId="{302FC55C-58A2-4FF3-96AC-10CFA0052481}" srcOrd="0" destOrd="0" presId="urn:microsoft.com/office/officeart/2005/8/layout/chevron2"/>
    <dgm:cxn modelId="{16A3B550-C732-4FFA-8FFD-6AC9E117E405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2000" b="1" dirty="0" smtClean="0">
              <a:latin typeface="Calibri" panose="020F0502020204030204" pitchFamily="34" charset="0"/>
              <a:cs typeface="Calibri" panose="020F0502020204030204" pitchFamily="34" charset="0"/>
            </a:rPr>
            <a:t>Корректировка</a:t>
          </a:r>
          <a:r>
            <a:rPr lang="ru-RU" sz="2000" b="1" baseline="0" dirty="0" smtClean="0">
              <a:latin typeface="Calibri" panose="020F0502020204030204" pitchFamily="34" charset="0"/>
              <a:cs typeface="Calibri" panose="020F0502020204030204" pitchFamily="34" charset="0"/>
            </a:rPr>
            <a:t> территориальной схемы обращения с отходами </a:t>
          </a:r>
          <a:endParaRPr lang="ru-RU" sz="20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rgbClr val="FF9900"/>
        </a:solidFill>
        <a:ln>
          <a:solidFill>
            <a:srgbClr val="FF9900"/>
          </a:solidFill>
        </a:ln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FF9900"/>
          </a:solidFill>
        </a:ln>
      </dgm:spPr>
      <dgm:t>
        <a:bodyPr/>
        <a:lstStyle/>
        <a:p>
          <a:r>
            <a:rPr lang="ru-RU" sz="2000" b="1" dirty="0" smtClean="0">
              <a:latin typeface="Calibri" panose="020F0502020204030204" pitchFamily="34" charset="0"/>
              <a:cs typeface="Calibri" panose="020F0502020204030204" pitchFamily="34" charset="0"/>
            </a:rPr>
            <a:t>Создание комплексной инфраструктуры обращения с ТКО</a:t>
          </a:r>
          <a:endParaRPr lang="ru-RU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есперебойная работа регионального оператора по обращению с ТКО</a:t>
          </a:r>
          <a:endParaRPr lang="ru-RU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606597A1-6187-4F03-AE5B-41AFF3A31537}">
      <dgm:prSet custT="1"/>
      <dgm:spPr>
        <a:ln>
          <a:solidFill>
            <a:srgbClr val="FF9900"/>
          </a:solidFill>
        </a:ln>
      </dgm:spPr>
      <dgm:t>
        <a:bodyPr/>
        <a:lstStyle/>
        <a:p>
          <a:r>
            <a:rPr lang="ru-RU" sz="2000" b="1" dirty="0" smtClean="0">
              <a:latin typeface="Calibri" panose="020F0502020204030204" pitchFamily="34" charset="0"/>
              <a:cs typeface="Calibri" panose="020F0502020204030204" pitchFamily="34" charset="0"/>
            </a:rPr>
            <a:t>Внедрение раздельного накопления ТКО среди населения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3226AC6-6CC9-447E-A0EE-35FFD7064448}" type="parTrans" cxnId="{426722BD-6FD0-47A6-B794-FD7C9A7E17ED}">
      <dgm:prSet/>
      <dgm:spPr/>
      <dgm:t>
        <a:bodyPr/>
        <a:lstStyle/>
        <a:p>
          <a:endParaRPr lang="ru-RU"/>
        </a:p>
      </dgm:t>
    </dgm:pt>
    <dgm:pt modelId="{FF0956BA-BD67-482F-A4C9-AFCCE96635D9}" type="sibTrans" cxnId="{426722BD-6FD0-47A6-B794-FD7C9A7E17ED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 custLinFactNeighborX="4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8461A9BF-D6CF-4DB6-80C1-B4C3A473A17C}" type="presOf" srcId="{606597A1-6187-4F03-AE5B-41AFF3A31537}" destId="{054E0B3D-A8D3-46C8-8CC8-57479A6700D3}" srcOrd="0" destOrd="1" presId="urn:microsoft.com/office/officeart/2005/8/layout/chevron2"/>
    <dgm:cxn modelId="{426722BD-6FD0-47A6-B794-FD7C9A7E17ED}" srcId="{E8C4C2EF-81D2-4B22-8A1D-88D0C558CD53}" destId="{606597A1-6187-4F03-AE5B-41AFF3A31537}" srcOrd="1" destOrd="0" parTransId="{43226AC6-6CC9-447E-A0EE-35FFD7064448}" sibTransId="{FF0956BA-BD67-482F-A4C9-AFCCE96635D9}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6F354A6F-7A35-46D1-901F-D8C53A5E97FF}" type="presOf" srcId="{E8C4C2EF-81D2-4B22-8A1D-88D0C558CD53}" destId="{302FC55C-58A2-4FF3-96AC-10CFA0052481}" srcOrd="0" destOrd="0" presId="urn:microsoft.com/office/officeart/2005/8/layout/chevron2"/>
    <dgm:cxn modelId="{1EAE7082-A050-47A6-B02D-A48CC12676F1}" type="presOf" srcId="{DEA64100-CF05-47A1-B324-B7A5DDB36E93}" destId="{29C5F787-6539-40B8-B7D2-7E50296FD528}" srcOrd="0" destOrd="0" presId="urn:microsoft.com/office/officeart/2005/8/layout/chevron2"/>
    <dgm:cxn modelId="{64FAB8E8-1941-4D65-920D-B627C763EC40}" type="presOf" srcId="{58CB288E-F9F4-4BB8-9851-2A6C7C3578F4}" destId="{4BC5D174-82E1-455A-8266-2EF651317590}" srcOrd="0" destOrd="0" presId="urn:microsoft.com/office/officeart/2005/8/layout/chevron2"/>
    <dgm:cxn modelId="{2E9F2687-B7BE-4631-A95A-0FA251C2FF75}" type="presOf" srcId="{18728B41-1962-40FC-B86A-9356146B5A68}" destId="{B3C1D9A3-46B4-4E40-BD14-497C0DCDB4DC}" srcOrd="0" destOrd="0" presId="urn:microsoft.com/office/officeart/2005/8/layout/chevron2"/>
    <dgm:cxn modelId="{DAA7A15F-EC47-44CD-9FC6-B46BEC5743A5}" type="presOf" srcId="{A2D40B80-A2E8-49E7-8480-DF0AD1F27530}" destId="{BA1055A7-1216-4086-83B6-4D1BE3CE8907}" srcOrd="0" destOrd="0" presId="urn:microsoft.com/office/officeart/2005/8/layout/chevron2"/>
    <dgm:cxn modelId="{C504318F-7EC5-4A1C-B1E6-6E658EF19455}" type="presOf" srcId="{D411A21B-1094-4E74-9F1B-CF6C6E2B675E}" destId="{CEB1617E-7ABE-4EBF-B914-C8E149BFD968}" srcOrd="0" destOrd="0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A157E540-A99F-4CA5-8189-C3ACB2B7563D}" type="presOf" srcId="{1ABDF41F-8084-474E-8ACB-67C32FF2A1EF}" destId="{054E0B3D-A8D3-46C8-8CC8-57479A6700D3}" srcOrd="0" destOrd="0" presId="urn:microsoft.com/office/officeart/2005/8/layout/chevron2"/>
    <dgm:cxn modelId="{BF8B9DC1-E2FE-47D7-A4EB-DC1F1208668F}" type="presParOf" srcId="{CEB1617E-7ABE-4EBF-B914-C8E149BFD968}" destId="{85B13D13-17B0-48B9-8B0B-E25A451A0D88}" srcOrd="0" destOrd="0" presId="urn:microsoft.com/office/officeart/2005/8/layout/chevron2"/>
    <dgm:cxn modelId="{A4630E79-0290-4AEB-9F11-4AF3E0EA45F4}" type="presParOf" srcId="{85B13D13-17B0-48B9-8B0B-E25A451A0D88}" destId="{29C5F787-6539-40B8-B7D2-7E50296FD528}" srcOrd="0" destOrd="0" presId="urn:microsoft.com/office/officeart/2005/8/layout/chevron2"/>
    <dgm:cxn modelId="{75733BDB-F635-4005-9C00-B23727982F4E}" type="presParOf" srcId="{85B13D13-17B0-48B9-8B0B-E25A451A0D88}" destId="{4BC5D174-82E1-455A-8266-2EF651317590}" srcOrd="1" destOrd="0" presId="urn:microsoft.com/office/officeart/2005/8/layout/chevron2"/>
    <dgm:cxn modelId="{AD26D85E-B311-4EC3-8658-AE972B4614BC}" type="presParOf" srcId="{CEB1617E-7ABE-4EBF-B914-C8E149BFD968}" destId="{F4A068E8-600F-46D8-82E3-B7B2E8ED51B3}" srcOrd="1" destOrd="0" presId="urn:microsoft.com/office/officeart/2005/8/layout/chevron2"/>
    <dgm:cxn modelId="{418C85DF-D661-4D3D-A365-A6E56780B4C0}" type="presParOf" srcId="{CEB1617E-7ABE-4EBF-B914-C8E149BFD968}" destId="{90FA17FB-56EA-4A20-A631-3E2625120CA1}" srcOrd="2" destOrd="0" presId="urn:microsoft.com/office/officeart/2005/8/layout/chevron2"/>
    <dgm:cxn modelId="{53B63D39-FDB8-429E-85C4-80F30D1562ED}" type="presParOf" srcId="{90FA17FB-56EA-4A20-A631-3E2625120CA1}" destId="{B3C1D9A3-46B4-4E40-BD14-497C0DCDB4DC}" srcOrd="0" destOrd="0" presId="urn:microsoft.com/office/officeart/2005/8/layout/chevron2"/>
    <dgm:cxn modelId="{84CC606A-D58E-48B2-BE86-D44E844254D0}" type="presParOf" srcId="{90FA17FB-56EA-4A20-A631-3E2625120CA1}" destId="{BA1055A7-1216-4086-83B6-4D1BE3CE8907}" srcOrd="1" destOrd="0" presId="urn:microsoft.com/office/officeart/2005/8/layout/chevron2"/>
    <dgm:cxn modelId="{6EABE92D-E984-4B0D-88CE-792BEF3B2A0D}" type="presParOf" srcId="{CEB1617E-7ABE-4EBF-B914-C8E149BFD968}" destId="{6ACCA3A6-7906-4632-B4CE-95157EE0E867}" srcOrd="3" destOrd="0" presId="urn:microsoft.com/office/officeart/2005/8/layout/chevron2"/>
    <dgm:cxn modelId="{2F4A9A3A-9942-46DA-8676-2F061F03EA16}" type="presParOf" srcId="{CEB1617E-7ABE-4EBF-B914-C8E149BFD968}" destId="{A26BA277-20E8-46F6-83B8-E92FFAE0EF5A}" srcOrd="4" destOrd="0" presId="urn:microsoft.com/office/officeart/2005/8/layout/chevron2"/>
    <dgm:cxn modelId="{0B09295D-0B5F-466D-97B8-759E029485D6}" type="presParOf" srcId="{A26BA277-20E8-46F6-83B8-E92FFAE0EF5A}" destId="{302FC55C-58A2-4FF3-96AC-10CFA0052481}" srcOrd="0" destOrd="0" presId="urn:microsoft.com/office/officeart/2005/8/layout/chevron2"/>
    <dgm:cxn modelId="{A20462B6-EC1B-44FA-A88A-06BA7B1462BC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949415B-BC48-46BE-ACB8-AB42F982B622}" type="doc">
      <dgm:prSet loTypeId="urn:microsoft.com/office/officeart/2005/8/layout/chevron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A87E66E-F731-4093-90AA-8E4C507DC341}">
      <dgm:prSet phldrT="[Текст]" custT="1"/>
      <dgm:spPr>
        <a:solidFill>
          <a:srgbClr val="FFC000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sz="1000" b="1" i="0" dirty="0" smtClean="0"/>
            <a:t>ОБЪЕМЫ ТКО/МАССА ТКО</a:t>
          </a:r>
          <a:endParaRPr lang="ru-RU" sz="1000" dirty="0"/>
        </a:p>
      </dgm:t>
    </dgm:pt>
    <dgm:pt modelId="{A4ABAFB2-5EC0-4B06-BE55-EB8A44D64D92}" type="parTrans" cxnId="{F262B88C-4F50-42A6-95C7-577A3D513CA5}">
      <dgm:prSet/>
      <dgm:spPr/>
      <dgm:t>
        <a:bodyPr/>
        <a:lstStyle/>
        <a:p>
          <a:endParaRPr lang="ru-RU"/>
        </a:p>
      </dgm:t>
    </dgm:pt>
    <dgm:pt modelId="{55B4A4B5-D758-414C-8840-FC3257437180}" type="sibTrans" cxnId="{F262B88C-4F50-42A6-95C7-577A3D513CA5}">
      <dgm:prSet/>
      <dgm:spPr/>
      <dgm:t>
        <a:bodyPr/>
        <a:lstStyle/>
        <a:p>
          <a:endParaRPr lang="ru-RU"/>
        </a:p>
      </dgm:t>
    </dgm:pt>
    <dgm:pt modelId="{37944DCE-81EC-4767-AB01-238531793642}">
      <dgm:prSet phldrT="[Текст]"/>
      <dgm:spPr/>
      <dgm:t>
        <a:bodyPr/>
        <a:lstStyle/>
        <a:p>
          <a:r>
            <a:rPr lang="ru-RU" b="0" i="0" dirty="0" smtClean="0"/>
            <a:t> 2 500 млн.</a:t>
          </a:r>
          <a:r>
            <a:rPr lang="ru-RU" b="0" i="0" dirty="0" smtClean="0">
              <a:effectLst/>
              <a:latin typeface="+mn-lt"/>
              <a:ea typeface="+mn-ea"/>
              <a:cs typeface="+mn-cs"/>
            </a:rPr>
            <a:t> м³/</a:t>
          </a:r>
          <a:r>
            <a:rPr lang="ru-RU" b="0" i="0" dirty="0" smtClean="0"/>
            <a:t>365 </a:t>
          </a:r>
          <a:r>
            <a:rPr lang="ru-RU" b="0" i="0" dirty="0" err="1" smtClean="0"/>
            <a:t>тыс.тонн</a:t>
          </a:r>
          <a:endParaRPr lang="ru-RU" dirty="0"/>
        </a:p>
      </dgm:t>
    </dgm:pt>
    <dgm:pt modelId="{4F9E603D-0F38-4896-9330-A938488A8A8C}" type="parTrans" cxnId="{9FCAA2DA-0DEA-4CB1-92DE-92D0E8CC9F2F}">
      <dgm:prSet/>
      <dgm:spPr/>
      <dgm:t>
        <a:bodyPr/>
        <a:lstStyle/>
        <a:p>
          <a:endParaRPr lang="ru-RU"/>
        </a:p>
      </dgm:t>
    </dgm:pt>
    <dgm:pt modelId="{63BE0CCD-24BF-4F05-A549-F6B01ED12D6E}" type="sibTrans" cxnId="{9FCAA2DA-0DEA-4CB1-92DE-92D0E8CC9F2F}">
      <dgm:prSet/>
      <dgm:spPr/>
      <dgm:t>
        <a:bodyPr/>
        <a:lstStyle/>
        <a:p>
          <a:endParaRPr lang="ru-RU"/>
        </a:p>
      </dgm:t>
    </dgm:pt>
    <dgm:pt modelId="{CF3C67D7-DD0B-4B5D-82DF-BB905DCCCB15}">
      <dgm:prSet phldrT="[Текст]" custT="1"/>
      <dgm:spPr>
        <a:solidFill>
          <a:srgbClr val="92D050"/>
        </a:solidFill>
        <a:ln>
          <a:solidFill>
            <a:schemeClr val="accent1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sz="1000" b="1" i="0" dirty="0" smtClean="0"/>
            <a:t>НОРМАТИВЫ НАКОПЛЕНИЯ ТКО</a:t>
          </a:r>
          <a:endParaRPr lang="ru-RU" sz="1000" dirty="0"/>
        </a:p>
      </dgm:t>
    </dgm:pt>
    <dgm:pt modelId="{DC8B05A8-2BA1-4095-A262-2FFA6A5BED2E}" type="parTrans" cxnId="{29C392CD-A3E2-41B4-AA53-8C0B5B2A3DC3}">
      <dgm:prSet/>
      <dgm:spPr/>
      <dgm:t>
        <a:bodyPr/>
        <a:lstStyle/>
        <a:p>
          <a:endParaRPr lang="ru-RU"/>
        </a:p>
      </dgm:t>
    </dgm:pt>
    <dgm:pt modelId="{7D3CCE7E-291F-42E4-B184-86DCD0D568AD}" type="sibTrans" cxnId="{29C392CD-A3E2-41B4-AA53-8C0B5B2A3DC3}">
      <dgm:prSet/>
      <dgm:spPr/>
      <dgm:t>
        <a:bodyPr/>
        <a:lstStyle/>
        <a:p>
          <a:endParaRPr lang="ru-RU"/>
        </a:p>
      </dgm:t>
    </dgm:pt>
    <dgm:pt modelId="{7769B10F-79A1-48DB-BBB5-2C0ECCC874BF}">
      <dgm:prSet phldrT="[Текст]"/>
      <dgm:spPr/>
      <dgm:t>
        <a:bodyPr/>
        <a:lstStyle/>
        <a:p>
          <a:pPr rtl="0"/>
          <a:r>
            <a:rPr lang="ru-RU" b="0" i="0" dirty="0" smtClean="0"/>
            <a:t> ИЖС  - 1,307</a:t>
          </a:r>
          <a:r>
            <a:rPr lang="ru-RU" b="0" i="0" dirty="0" smtClean="0">
              <a:effectLst/>
              <a:latin typeface="+mn-lt"/>
              <a:ea typeface="+mn-ea"/>
              <a:cs typeface="+mn-cs"/>
            </a:rPr>
            <a:t>м³/год </a:t>
          </a:r>
          <a:endParaRPr lang="ru-RU" dirty="0"/>
        </a:p>
      </dgm:t>
    </dgm:pt>
    <dgm:pt modelId="{E7E0FEF4-781E-41B9-81CF-331F49202648}" type="parTrans" cxnId="{50F9AD65-C2B8-4407-900A-F859205917C1}">
      <dgm:prSet/>
      <dgm:spPr/>
      <dgm:t>
        <a:bodyPr/>
        <a:lstStyle/>
        <a:p>
          <a:endParaRPr lang="ru-RU"/>
        </a:p>
      </dgm:t>
    </dgm:pt>
    <dgm:pt modelId="{D79DB94B-C51B-48A8-8545-81B1B69C00D3}" type="sibTrans" cxnId="{50F9AD65-C2B8-4407-900A-F859205917C1}">
      <dgm:prSet/>
      <dgm:spPr/>
      <dgm:t>
        <a:bodyPr/>
        <a:lstStyle/>
        <a:p>
          <a:endParaRPr lang="ru-RU"/>
        </a:p>
      </dgm:t>
    </dgm:pt>
    <dgm:pt modelId="{1B2709BD-91A7-4122-AEAF-79789DBBE22D}">
      <dgm:prSet phldrT="[Текст]"/>
      <dgm:spPr>
        <a:solidFill>
          <a:srgbClr val="82D8CA"/>
        </a:solidFill>
      </dgm:spPr>
      <dgm:t>
        <a:bodyPr/>
        <a:lstStyle/>
        <a:p>
          <a:r>
            <a:rPr lang="ru-RU" b="1" i="0" dirty="0" smtClean="0"/>
            <a:t>КОНТЕЙНЕРНЫЙ ПАРК/ПАРК СПЕЦТЕХНИКИ</a:t>
          </a:r>
          <a:endParaRPr lang="ru-RU" dirty="0"/>
        </a:p>
      </dgm:t>
    </dgm:pt>
    <dgm:pt modelId="{DDE85305-1B9D-4A2F-8BD2-0200BB20170A}" type="parTrans" cxnId="{12B81DBA-4104-4E0E-9F23-41E50273EF7D}">
      <dgm:prSet/>
      <dgm:spPr/>
      <dgm:t>
        <a:bodyPr/>
        <a:lstStyle/>
        <a:p>
          <a:endParaRPr lang="ru-RU"/>
        </a:p>
      </dgm:t>
    </dgm:pt>
    <dgm:pt modelId="{4500F017-F41A-446F-BC4D-4B1D668691FE}" type="sibTrans" cxnId="{12B81DBA-4104-4E0E-9F23-41E50273EF7D}">
      <dgm:prSet/>
      <dgm:spPr/>
      <dgm:t>
        <a:bodyPr/>
        <a:lstStyle/>
        <a:p>
          <a:endParaRPr lang="ru-RU"/>
        </a:p>
      </dgm:t>
    </dgm:pt>
    <dgm:pt modelId="{2D4EFF96-DC42-45C7-89A1-5C30047633E7}">
      <dgm:prSet phldrT="[Текст]"/>
      <dgm:spPr/>
      <dgm:t>
        <a:bodyPr/>
        <a:lstStyle/>
        <a:p>
          <a:r>
            <a:rPr lang="ru-RU" b="0" i="0" dirty="0" smtClean="0"/>
            <a:t> 15 778 контейнеров</a:t>
          </a:r>
          <a:endParaRPr lang="ru-RU" dirty="0"/>
        </a:p>
      </dgm:t>
    </dgm:pt>
    <dgm:pt modelId="{B79EAD3E-A018-4D5D-86FC-27F4CC410D67}" type="parTrans" cxnId="{89DCA23E-B403-407B-94EA-85BCDACEB027}">
      <dgm:prSet/>
      <dgm:spPr/>
      <dgm:t>
        <a:bodyPr/>
        <a:lstStyle/>
        <a:p>
          <a:endParaRPr lang="ru-RU"/>
        </a:p>
      </dgm:t>
    </dgm:pt>
    <dgm:pt modelId="{076A7E11-22D4-4443-8476-784299810B96}" type="sibTrans" cxnId="{89DCA23E-B403-407B-94EA-85BCDACEB027}">
      <dgm:prSet/>
      <dgm:spPr/>
      <dgm:t>
        <a:bodyPr/>
        <a:lstStyle/>
        <a:p>
          <a:endParaRPr lang="ru-RU"/>
        </a:p>
      </dgm:t>
    </dgm:pt>
    <dgm:pt modelId="{1D709EB5-033C-4ACA-A574-61512EB5C26D}">
      <dgm:prSet/>
      <dgm:spPr/>
      <dgm:t>
        <a:bodyPr/>
        <a:lstStyle/>
        <a:p>
          <a:pPr rtl="0"/>
          <a:r>
            <a:rPr lang="ru-RU" b="0" i="0" dirty="0" smtClean="0"/>
            <a:t> МКД -  1,886 </a:t>
          </a:r>
          <a:r>
            <a:rPr lang="ru-RU" b="0" i="0" dirty="0" smtClean="0">
              <a:effectLst/>
              <a:latin typeface="+mn-lt"/>
              <a:ea typeface="+mn-ea"/>
              <a:cs typeface="+mn-cs"/>
            </a:rPr>
            <a:t>м³/год</a:t>
          </a:r>
          <a:endParaRPr lang="ru-RU" b="0" i="0" dirty="0" smtClean="0"/>
        </a:p>
      </dgm:t>
    </dgm:pt>
    <dgm:pt modelId="{82880278-40CE-4416-AB70-F4B3447769E4}" type="parTrans" cxnId="{61626B2B-B521-41AD-B940-C45843CBA530}">
      <dgm:prSet/>
      <dgm:spPr/>
      <dgm:t>
        <a:bodyPr/>
        <a:lstStyle/>
        <a:p>
          <a:endParaRPr lang="ru-RU"/>
        </a:p>
      </dgm:t>
    </dgm:pt>
    <dgm:pt modelId="{520A48BA-A38A-47B1-B995-B66CD0580ED0}" type="sibTrans" cxnId="{61626B2B-B521-41AD-B940-C45843CBA530}">
      <dgm:prSet/>
      <dgm:spPr/>
      <dgm:t>
        <a:bodyPr/>
        <a:lstStyle/>
        <a:p>
          <a:endParaRPr lang="ru-RU"/>
        </a:p>
      </dgm:t>
    </dgm:pt>
    <dgm:pt modelId="{A0BAF983-CF48-4F01-B68C-D46D79760FA3}">
      <dgm:prSet custT="1"/>
      <dgm:spPr>
        <a:solidFill>
          <a:srgbClr val="7483A0"/>
        </a:solidFill>
      </dgm:spPr>
      <dgm:t>
        <a:bodyPr/>
        <a:lstStyle/>
        <a:p>
          <a:r>
            <a:rPr lang="ru-RU" sz="1000" b="1" dirty="0" smtClean="0"/>
            <a:t>ОБЪЕКТЫ ИНФРАСТРУК-ТУРЫ</a:t>
          </a:r>
          <a:endParaRPr lang="ru-RU" sz="1000" b="1" dirty="0"/>
        </a:p>
      </dgm:t>
    </dgm:pt>
    <dgm:pt modelId="{BAE75DEE-A75D-4B69-BA22-652FD781017C}" type="parTrans" cxnId="{77ED7409-C2B5-482C-8EFA-EEBCB2AFCA6C}">
      <dgm:prSet/>
      <dgm:spPr/>
      <dgm:t>
        <a:bodyPr/>
        <a:lstStyle/>
        <a:p>
          <a:endParaRPr lang="ru-RU"/>
        </a:p>
      </dgm:t>
    </dgm:pt>
    <dgm:pt modelId="{F9848552-2DAF-4842-A041-ADE427D401F5}" type="sibTrans" cxnId="{77ED7409-C2B5-482C-8EFA-EEBCB2AFCA6C}">
      <dgm:prSet/>
      <dgm:spPr/>
      <dgm:t>
        <a:bodyPr/>
        <a:lstStyle/>
        <a:p>
          <a:endParaRPr lang="ru-RU"/>
        </a:p>
      </dgm:t>
    </dgm:pt>
    <dgm:pt modelId="{6F8B36FC-CEFD-40BF-9050-9AECE554B42C}">
      <dgm:prSet/>
      <dgm:spPr/>
      <dgm:t>
        <a:bodyPr/>
        <a:lstStyle/>
        <a:p>
          <a:r>
            <a:rPr lang="ru-RU" b="0" i="0" dirty="0" smtClean="0"/>
            <a:t> 4 полигона/ 5 сортировок/ 20 свалок                         (Задача – оптимизация потоков и сокращение              затрат на транспортирование)</a:t>
          </a:r>
          <a:endParaRPr lang="ru-RU" dirty="0"/>
        </a:p>
      </dgm:t>
    </dgm:pt>
    <dgm:pt modelId="{1C868FF1-E949-40C9-9C20-4B44A07C6539}" type="parTrans" cxnId="{64FB49F6-085F-4EE1-88B7-EEF8E92EFB4E}">
      <dgm:prSet/>
      <dgm:spPr/>
      <dgm:t>
        <a:bodyPr/>
        <a:lstStyle/>
        <a:p>
          <a:endParaRPr lang="ru-RU"/>
        </a:p>
      </dgm:t>
    </dgm:pt>
    <dgm:pt modelId="{2FF4D508-499F-479F-8B0A-DA84265349FC}" type="sibTrans" cxnId="{64FB49F6-085F-4EE1-88B7-EEF8E92EFB4E}">
      <dgm:prSet/>
      <dgm:spPr/>
      <dgm:t>
        <a:bodyPr/>
        <a:lstStyle/>
        <a:p>
          <a:endParaRPr lang="ru-RU"/>
        </a:p>
      </dgm:t>
    </dgm:pt>
    <dgm:pt modelId="{6EB9BFD6-CA80-4A5E-9BFF-C140A950C632}">
      <dgm:prSet custT="1"/>
      <dgm:spPr>
        <a:solidFill>
          <a:srgbClr val="CF8E8E"/>
        </a:solidFill>
      </dgm:spPr>
      <dgm:t>
        <a:bodyPr/>
        <a:lstStyle/>
        <a:p>
          <a:r>
            <a:rPr lang="ru-RU" sz="1000" b="1" dirty="0" smtClean="0"/>
            <a:t>РАЗДЕЛЬНЫЙ СБОР ТКО</a:t>
          </a:r>
          <a:endParaRPr lang="ru-RU" sz="1000" b="1" dirty="0"/>
        </a:p>
      </dgm:t>
    </dgm:pt>
    <dgm:pt modelId="{BE63E64F-473E-4919-A68C-DBD336A56AD3}" type="parTrans" cxnId="{1E35E9E6-BAB9-4DAD-96DA-79CA04A7C17E}">
      <dgm:prSet/>
      <dgm:spPr/>
      <dgm:t>
        <a:bodyPr/>
        <a:lstStyle/>
        <a:p>
          <a:endParaRPr lang="ru-RU"/>
        </a:p>
      </dgm:t>
    </dgm:pt>
    <dgm:pt modelId="{5F96E208-F8EC-42B5-A6BA-ADED0FCA300C}" type="sibTrans" cxnId="{1E35E9E6-BAB9-4DAD-96DA-79CA04A7C17E}">
      <dgm:prSet/>
      <dgm:spPr/>
      <dgm:t>
        <a:bodyPr/>
        <a:lstStyle/>
        <a:p>
          <a:endParaRPr lang="ru-RU"/>
        </a:p>
      </dgm:t>
    </dgm:pt>
    <dgm:pt modelId="{A0D3F3F9-CF63-4260-AE29-E770D5A00049}">
      <dgm:prSet/>
      <dgm:spPr/>
      <dgm:t>
        <a:bodyPr/>
        <a:lstStyle/>
        <a:p>
          <a:r>
            <a:rPr lang="ru-RU" b="0" i="0" dirty="0" smtClean="0"/>
            <a:t> 2021 - г. Чита</a:t>
          </a:r>
          <a:r>
            <a:rPr lang="ru-RU" b="0" i="0" baseline="0" dirty="0" smtClean="0"/>
            <a:t> (2880 контейнеров/1000 контейнерных площадок в г. Чита (МКД, соц. объекты (школы, детские сады, учреждения культуры, парки)</a:t>
          </a:r>
          <a:endParaRPr lang="ru-RU" dirty="0"/>
        </a:p>
      </dgm:t>
    </dgm:pt>
    <dgm:pt modelId="{614589CB-C598-49BE-8522-9A9F9124ECE3}" type="parTrans" cxnId="{5D91AAF7-6082-4AB4-9A39-2B00D41118F6}">
      <dgm:prSet/>
      <dgm:spPr/>
      <dgm:t>
        <a:bodyPr/>
        <a:lstStyle/>
        <a:p>
          <a:endParaRPr lang="ru-RU"/>
        </a:p>
      </dgm:t>
    </dgm:pt>
    <dgm:pt modelId="{E94601EE-AE7F-4659-85AC-BE06A08D3C55}" type="sibTrans" cxnId="{5D91AAF7-6082-4AB4-9A39-2B00D41118F6}">
      <dgm:prSet/>
      <dgm:spPr/>
      <dgm:t>
        <a:bodyPr/>
        <a:lstStyle/>
        <a:p>
          <a:endParaRPr lang="ru-RU"/>
        </a:p>
      </dgm:t>
    </dgm:pt>
    <dgm:pt modelId="{58E29285-CA99-4857-86CB-AD689424A40A}">
      <dgm:prSet phldrT="[Текст]"/>
      <dgm:spPr/>
      <dgm:t>
        <a:bodyPr/>
        <a:lstStyle/>
        <a:p>
          <a:r>
            <a:rPr lang="ru-RU" b="0" i="0" dirty="0" smtClean="0"/>
            <a:t> плотность ТКО – 166 кг/м</a:t>
          </a:r>
          <a:r>
            <a:rPr lang="ru-RU" b="0" i="0" dirty="0" smtClean="0">
              <a:effectLst/>
              <a:latin typeface="+mn-lt"/>
              <a:ea typeface="+mn-ea"/>
              <a:cs typeface="+mn-cs"/>
            </a:rPr>
            <a:t>³</a:t>
          </a:r>
          <a:endParaRPr lang="ru-RU" dirty="0"/>
        </a:p>
      </dgm:t>
    </dgm:pt>
    <dgm:pt modelId="{71EE6DF0-0D42-4204-9E9A-4A9B3A706D54}" type="parTrans" cxnId="{0C797262-DEC1-43C7-8B4B-E763C0A901DB}">
      <dgm:prSet/>
      <dgm:spPr/>
      <dgm:t>
        <a:bodyPr/>
        <a:lstStyle/>
        <a:p>
          <a:endParaRPr lang="ru-RU"/>
        </a:p>
      </dgm:t>
    </dgm:pt>
    <dgm:pt modelId="{A4E0DD70-E0D8-4FE5-B58F-F33140BB7828}" type="sibTrans" cxnId="{0C797262-DEC1-43C7-8B4B-E763C0A901DB}">
      <dgm:prSet/>
      <dgm:spPr/>
      <dgm:t>
        <a:bodyPr/>
        <a:lstStyle/>
        <a:p>
          <a:endParaRPr lang="ru-RU"/>
        </a:p>
      </dgm:t>
    </dgm:pt>
    <dgm:pt modelId="{19D40CB7-3171-4642-AF9D-F7205C1A0A59}">
      <dgm:prSet phldrT="[Текст]"/>
      <dgm:spPr/>
      <dgm:t>
        <a:bodyPr/>
        <a:lstStyle/>
        <a:p>
          <a:r>
            <a:rPr lang="ru-RU" b="0" i="0" dirty="0" smtClean="0"/>
            <a:t> 120 мусоровозов</a:t>
          </a:r>
          <a:endParaRPr lang="ru-RU" dirty="0"/>
        </a:p>
      </dgm:t>
    </dgm:pt>
    <dgm:pt modelId="{FD81D60A-6D9B-4AC6-ABD0-81BE9ADF3F51}" type="parTrans" cxnId="{2C8DE697-2331-4C6A-8B37-34AEF2BE2F2B}">
      <dgm:prSet/>
      <dgm:spPr/>
      <dgm:t>
        <a:bodyPr/>
        <a:lstStyle/>
        <a:p>
          <a:endParaRPr lang="ru-RU"/>
        </a:p>
      </dgm:t>
    </dgm:pt>
    <dgm:pt modelId="{5350BB40-2197-43D9-BE1B-2776409F8B2E}" type="sibTrans" cxnId="{2C8DE697-2331-4C6A-8B37-34AEF2BE2F2B}">
      <dgm:prSet/>
      <dgm:spPr/>
      <dgm:t>
        <a:bodyPr/>
        <a:lstStyle/>
        <a:p>
          <a:endParaRPr lang="ru-RU"/>
        </a:p>
      </dgm:t>
    </dgm:pt>
    <dgm:pt modelId="{7E3F5711-D7CD-4A33-B15F-86803E063422}" type="pres">
      <dgm:prSet presAssocID="{C949415B-BC48-46BE-ACB8-AB42F982B62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48B2351-E316-44B5-A187-D95FA5DAC4C4}" type="pres">
      <dgm:prSet presAssocID="{2A87E66E-F731-4093-90AA-8E4C507DC341}" presName="composite" presStyleCnt="0"/>
      <dgm:spPr/>
    </dgm:pt>
    <dgm:pt modelId="{CBBC325A-DED8-4982-84DC-CF64EE7D5222}" type="pres">
      <dgm:prSet presAssocID="{2A87E66E-F731-4093-90AA-8E4C507DC341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AB6908-6DDD-4E51-B4A6-72B996B97DCE}" type="pres">
      <dgm:prSet presAssocID="{2A87E66E-F731-4093-90AA-8E4C507DC341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1FCE9B-D60A-4F99-A70E-13562F588D3E}" type="pres">
      <dgm:prSet presAssocID="{55B4A4B5-D758-414C-8840-FC3257437180}" presName="sp" presStyleCnt="0"/>
      <dgm:spPr/>
    </dgm:pt>
    <dgm:pt modelId="{CF8B0CBA-9A06-42C0-921B-8E44246C6888}" type="pres">
      <dgm:prSet presAssocID="{CF3C67D7-DD0B-4B5D-82DF-BB905DCCCB15}" presName="composite" presStyleCnt="0"/>
      <dgm:spPr/>
    </dgm:pt>
    <dgm:pt modelId="{5830D85E-A790-45FA-B823-67495E792902}" type="pres">
      <dgm:prSet presAssocID="{CF3C67D7-DD0B-4B5D-82DF-BB905DCCCB15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72E4E0-D485-4223-A72A-35584D344258}" type="pres">
      <dgm:prSet presAssocID="{CF3C67D7-DD0B-4B5D-82DF-BB905DCCCB15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465BFA-D8EC-409B-865C-19B3524F9493}" type="pres">
      <dgm:prSet presAssocID="{7D3CCE7E-291F-42E4-B184-86DCD0D568AD}" presName="sp" presStyleCnt="0"/>
      <dgm:spPr/>
    </dgm:pt>
    <dgm:pt modelId="{436DC277-1F91-4413-AD5B-BD229FCF9F48}" type="pres">
      <dgm:prSet presAssocID="{1B2709BD-91A7-4122-AEAF-79789DBBE22D}" presName="composite" presStyleCnt="0"/>
      <dgm:spPr/>
    </dgm:pt>
    <dgm:pt modelId="{CFE1D3BC-BEC4-4BBF-A75D-46135BC6291F}" type="pres">
      <dgm:prSet presAssocID="{1B2709BD-91A7-4122-AEAF-79789DBBE22D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A33958-7C6B-4F51-8A23-ABB85E8F8A15}" type="pres">
      <dgm:prSet presAssocID="{1B2709BD-91A7-4122-AEAF-79789DBBE22D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EE76CC-9AA0-48AB-AB45-EE51AD56F5F2}" type="pres">
      <dgm:prSet presAssocID="{4500F017-F41A-446F-BC4D-4B1D668691FE}" presName="sp" presStyleCnt="0"/>
      <dgm:spPr/>
    </dgm:pt>
    <dgm:pt modelId="{BC1F3197-D2B9-4B7D-9C77-8EAFBCC3A436}" type="pres">
      <dgm:prSet presAssocID="{A0BAF983-CF48-4F01-B68C-D46D79760FA3}" presName="composite" presStyleCnt="0"/>
      <dgm:spPr/>
    </dgm:pt>
    <dgm:pt modelId="{16617CEC-3823-4169-9DE4-08B228DB9C4E}" type="pres">
      <dgm:prSet presAssocID="{A0BAF983-CF48-4F01-B68C-D46D79760FA3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4AF501-658F-42DF-B379-505AF3AFA959}" type="pres">
      <dgm:prSet presAssocID="{A0BAF983-CF48-4F01-B68C-D46D79760FA3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17C433-D8F2-475E-B618-4FACCB7CD3C2}" type="pres">
      <dgm:prSet presAssocID="{F9848552-2DAF-4842-A041-ADE427D401F5}" presName="sp" presStyleCnt="0"/>
      <dgm:spPr/>
    </dgm:pt>
    <dgm:pt modelId="{B831488D-19E2-4F9F-8836-5CA4E5981728}" type="pres">
      <dgm:prSet presAssocID="{6EB9BFD6-CA80-4A5E-9BFF-C140A950C632}" presName="composite" presStyleCnt="0"/>
      <dgm:spPr/>
    </dgm:pt>
    <dgm:pt modelId="{833DC541-69EA-4C2F-B343-53019084D906}" type="pres">
      <dgm:prSet presAssocID="{6EB9BFD6-CA80-4A5E-9BFF-C140A950C632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9C46DF-6FBF-43F2-AAB1-1D1F82D68D04}" type="pres">
      <dgm:prSet presAssocID="{6EB9BFD6-CA80-4A5E-9BFF-C140A950C632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3B81ECB-BFDE-45C7-A19D-04467733FEB9}" type="presOf" srcId="{A0BAF983-CF48-4F01-B68C-D46D79760FA3}" destId="{16617CEC-3823-4169-9DE4-08B228DB9C4E}" srcOrd="0" destOrd="0" presId="urn:microsoft.com/office/officeart/2005/8/layout/chevron2"/>
    <dgm:cxn modelId="{29C392CD-A3E2-41B4-AA53-8C0B5B2A3DC3}" srcId="{C949415B-BC48-46BE-ACB8-AB42F982B622}" destId="{CF3C67D7-DD0B-4B5D-82DF-BB905DCCCB15}" srcOrd="1" destOrd="0" parTransId="{DC8B05A8-2BA1-4095-A262-2FFA6A5BED2E}" sibTransId="{7D3CCE7E-291F-42E4-B184-86DCD0D568AD}"/>
    <dgm:cxn modelId="{50F9AD65-C2B8-4407-900A-F859205917C1}" srcId="{CF3C67D7-DD0B-4B5D-82DF-BB905DCCCB15}" destId="{7769B10F-79A1-48DB-BBB5-2C0ECCC874BF}" srcOrd="0" destOrd="0" parTransId="{E7E0FEF4-781E-41B9-81CF-331F49202648}" sibTransId="{D79DB94B-C51B-48A8-8545-81B1B69C00D3}"/>
    <dgm:cxn modelId="{1E35E9E6-BAB9-4DAD-96DA-79CA04A7C17E}" srcId="{C949415B-BC48-46BE-ACB8-AB42F982B622}" destId="{6EB9BFD6-CA80-4A5E-9BFF-C140A950C632}" srcOrd="4" destOrd="0" parTransId="{BE63E64F-473E-4919-A68C-DBD336A56AD3}" sibTransId="{5F96E208-F8EC-42B5-A6BA-ADED0FCA300C}"/>
    <dgm:cxn modelId="{DB19CF83-A9D2-47D3-BA05-56143FBD1B88}" type="presOf" srcId="{7769B10F-79A1-48DB-BBB5-2C0ECCC874BF}" destId="{1A72E4E0-D485-4223-A72A-35584D344258}" srcOrd="0" destOrd="0" presId="urn:microsoft.com/office/officeart/2005/8/layout/chevron2"/>
    <dgm:cxn modelId="{05760E73-E8BD-4D17-9B54-9C0DB09DDC42}" type="presOf" srcId="{1B2709BD-91A7-4122-AEAF-79789DBBE22D}" destId="{CFE1D3BC-BEC4-4BBF-A75D-46135BC6291F}" srcOrd="0" destOrd="0" presId="urn:microsoft.com/office/officeart/2005/8/layout/chevron2"/>
    <dgm:cxn modelId="{89DCA23E-B403-407B-94EA-85BCDACEB027}" srcId="{1B2709BD-91A7-4122-AEAF-79789DBBE22D}" destId="{2D4EFF96-DC42-45C7-89A1-5C30047633E7}" srcOrd="0" destOrd="0" parTransId="{B79EAD3E-A018-4D5D-86FC-27F4CC410D67}" sibTransId="{076A7E11-22D4-4443-8476-784299810B96}"/>
    <dgm:cxn modelId="{F262B88C-4F50-42A6-95C7-577A3D513CA5}" srcId="{C949415B-BC48-46BE-ACB8-AB42F982B622}" destId="{2A87E66E-F731-4093-90AA-8E4C507DC341}" srcOrd="0" destOrd="0" parTransId="{A4ABAFB2-5EC0-4B06-BE55-EB8A44D64D92}" sibTransId="{55B4A4B5-D758-414C-8840-FC3257437180}"/>
    <dgm:cxn modelId="{93CC629F-91E9-4821-9572-37C111510547}" type="presOf" srcId="{1D709EB5-033C-4ACA-A574-61512EB5C26D}" destId="{1A72E4E0-D485-4223-A72A-35584D344258}" srcOrd="0" destOrd="1" presId="urn:microsoft.com/office/officeart/2005/8/layout/chevron2"/>
    <dgm:cxn modelId="{21280881-A4AC-4956-85E0-3B1F76724A8D}" type="presOf" srcId="{58E29285-CA99-4857-86CB-AD689424A40A}" destId="{CFAB6908-6DDD-4E51-B4A6-72B996B97DCE}" srcOrd="0" destOrd="1" presId="urn:microsoft.com/office/officeart/2005/8/layout/chevron2"/>
    <dgm:cxn modelId="{2C8DE697-2331-4C6A-8B37-34AEF2BE2F2B}" srcId="{1B2709BD-91A7-4122-AEAF-79789DBBE22D}" destId="{19D40CB7-3171-4642-AF9D-F7205C1A0A59}" srcOrd="1" destOrd="0" parTransId="{FD81D60A-6D9B-4AC6-ABD0-81BE9ADF3F51}" sibTransId="{5350BB40-2197-43D9-BE1B-2776409F8B2E}"/>
    <dgm:cxn modelId="{0C797262-DEC1-43C7-8B4B-E763C0A901DB}" srcId="{2A87E66E-F731-4093-90AA-8E4C507DC341}" destId="{58E29285-CA99-4857-86CB-AD689424A40A}" srcOrd="1" destOrd="0" parTransId="{71EE6DF0-0D42-4204-9E9A-4A9B3A706D54}" sibTransId="{A4E0DD70-E0D8-4FE5-B58F-F33140BB7828}"/>
    <dgm:cxn modelId="{0AF5DB9D-3FBE-41ED-9359-FA2F9760760F}" type="presOf" srcId="{6EB9BFD6-CA80-4A5E-9BFF-C140A950C632}" destId="{833DC541-69EA-4C2F-B343-53019084D906}" srcOrd="0" destOrd="0" presId="urn:microsoft.com/office/officeart/2005/8/layout/chevron2"/>
    <dgm:cxn modelId="{6BD31753-DF8F-4425-9364-11EF98980745}" type="presOf" srcId="{2A87E66E-F731-4093-90AA-8E4C507DC341}" destId="{CBBC325A-DED8-4982-84DC-CF64EE7D5222}" srcOrd="0" destOrd="0" presId="urn:microsoft.com/office/officeart/2005/8/layout/chevron2"/>
    <dgm:cxn modelId="{0BEE7453-591B-4FB4-AE25-4A4079EFD93B}" type="presOf" srcId="{A0D3F3F9-CF63-4260-AE29-E770D5A00049}" destId="{EC9C46DF-6FBF-43F2-AAB1-1D1F82D68D04}" srcOrd="0" destOrd="0" presId="urn:microsoft.com/office/officeart/2005/8/layout/chevron2"/>
    <dgm:cxn modelId="{5D91AAF7-6082-4AB4-9A39-2B00D41118F6}" srcId="{6EB9BFD6-CA80-4A5E-9BFF-C140A950C632}" destId="{A0D3F3F9-CF63-4260-AE29-E770D5A00049}" srcOrd="0" destOrd="0" parTransId="{614589CB-C598-49BE-8522-9A9F9124ECE3}" sibTransId="{E94601EE-AE7F-4659-85AC-BE06A08D3C55}"/>
    <dgm:cxn modelId="{77ED7409-C2B5-482C-8EFA-EEBCB2AFCA6C}" srcId="{C949415B-BC48-46BE-ACB8-AB42F982B622}" destId="{A0BAF983-CF48-4F01-B68C-D46D79760FA3}" srcOrd="3" destOrd="0" parTransId="{BAE75DEE-A75D-4B69-BA22-652FD781017C}" sibTransId="{F9848552-2DAF-4842-A041-ADE427D401F5}"/>
    <dgm:cxn modelId="{9FCAA2DA-0DEA-4CB1-92DE-92D0E8CC9F2F}" srcId="{2A87E66E-F731-4093-90AA-8E4C507DC341}" destId="{37944DCE-81EC-4767-AB01-238531793642}" srcOrd="0" destOrd="0" parTransId="{4F9E603D-0F38-4896-9330-A938488A8A8C}" sibTransId="{63BE0CCD-24BF-4F05-A549-F6B01ED12D6E}"/>
    <dgm:cxn modelId="{12B81DBA-4104-4E0E-9F23-41E50273EF7D}" srcId="{C949415B-BC48-46BE-ACB8-AB42F982B622}" destId="{1B2709BD-91A7-4122-AEAF-79789DBBE22D}" srcOrd="2" destOrd="0" parTransId="{DDE85305-1B9D-4A2F-8BD2-0200BB20170A}" sibTransId="{4500F017-F41A-446F-BC4D-4B1D668691FE}"/>
    <dgm:cxn modelId="{A589720A-9BAD-460A-BD9F-5B32406DE88B}" type="presOf" srcId="{37944DCE-81EC-4767-AB01-238531793642}" destId="{CFAB6908-6DDD-4E51-B4A6-72B996B97DCE}" srcOrd="0" destOrd="0" presId="urn:microsoft.com/office/officeart/2005/8/layout/chevron2"/>
    <dgm:cxn modelId="{EFFF0EEA-6B5E-4E2C-A229-F2CEADAD2EAA}" type="presOf" srcId="{C949415B-BC48-46BE-ACB8-AB42F982B622}" destId="{7E3F5711-D7CD-4A33-B15F-86803E063422}" srcOrd="0" destOrd="0" presId="urn:microsoft.com/office/officeart/2005/8/layout/chevron2"/>
    <dgm:cxn modelId="{61626B2B-B521-41AD-B940-C45843CBA530}" srcId="{CF3C67D7-DD0B-4B5D-82DF-BB905DCCCB15}" destId="{1D709EB5-033C-4ACA-A574-61512EB5C26D}" srcOrd="1" destOrd="0" parTransId="{82880278-40CE-4416-AB70-F4B3447769E4}" sibTransId="{520A48BA-A38A-47B1-B995-B66CD0580ED0}"/>
    <dgm:cxn modelId="{9ECB9542-53FA-41B5-8C38-3D667074E853}" type="presOf" srcId="{6F8B36FC-CEFD-40BF-9050-9AECE554B42C}" destId="{7A4AF501-658F-42DF-B379-505AF3AFA959}" srcOrd="0" destOrd="0" presId="urn:microsoft.com/office/officeart/2005/8/layout/chevron2"/>
    <dgm:cxn modelId="{660734C0-208C-4ED9-8086-EBC9E41D9341}" type="presOf" srcId="{2D4EFF96-DC42-45C7-89A1-5C30047633E7}" destId="{D2A33958-7C6B-4F51-8A23-ABB85E8F8A15}" srcOrd="0" destOrd="0" presId="urn:microsoft.com/office/officeart/2005/8/layout/chevron2"/>
    <dgm:cxn modelId="{70D91C11-D437-4EB5-AE9B-5EE8F9E15F7A}" type="presOf" srcId="{CF3C67D7-DD0B-4B5D-82DF-BB905DCCCB15}" destId="{5830D85E-A790-45FA-B823-67495E792902}" srcOrd="0" destOrd="0" presId="urn:microsoft.com/office/officeart/2005/8/layout/chevron2"/>
    <dgm:cxn modelId="{5229939A-E1A2-41D9-8646-969EA4462EA9}" type="presOf" srcId="{19D40CB7-3171-4642-AF9D-F7205C1A0A59}" destId="{D2A33958-7C6B-4F51-8A23-ABB85E8F8A15}" srcOrd="0" destOrd="1" presId="urn:microsoft.com/office/officeart/2005/8/layout/chevron2"/>
    <dgm:cxn modelId="{64FB49F6-085F-4EE1-88B7-EEF8E92EFB4E}" srcId="{A0BAF983-CF48-4F01-B68C-D46D79760FA3}" destId="{6F8B36FC-CEFD-40BF-9050-9AECE554B42C}" srcOrd="0" destOrd="0" parTransId="{1C868FF1-E949-40C9-9C20-4B44A07C6539}" sibTransId="{2FF4D508-499F-479F-8B0A-DA84265349FC}"/>
    <dgm:cxn modelId="{DFEAE681-2557-49EA-898F-89E9112FE4F1}" type="presParOf" srcId="{7E3F5711-D7CD-4A33-B15F-86803E063422}" destId="{F48B2351-E316-44B5-A187-D95FA5DAC4C4}" srcOrd="0" destOrd="0" presId="urn:microsoft.com/office/officeart/2005/8/layout/chevron2"/>
    <dgm:cxn modelId="{EFD1F891-EA0E-42E9-9142-CC8A6E31477C}" type="presParOf" srcId="{F48B2351-E316-44B5-A187-D95FA5DAC4C4}" destId="{CBBC325A-DED8-4982-84DC-CF64EE7D5222}" srcOrd="0" destOrd="0" presId="urn:microsoft.com/office/officeart/2005/8/layout/chevron2"/>
    <dgm:cxn modelId="{F9AC5566-F88A-4C8F-B86D-821C708AA5C4}" type="presParOf" srcId="{F48B2351-E316-44B5-A187-D95FA5DAC4C4}" destId="{CFAB6908-6DDD-4E51-B4A6-72B996B97DCE}" srcOrd="1" destOrd="0" presId="urn:microsoft.com/office/officeart/2005/8/layout/chevron2"/>
    <dgm:cxn modelId="{882047B6-102F-4249-BCBB-C2028830A9F2}" type="presParOf" srcId="{7E3F5711-D7CD-4A33-B15F-86803E063422}" destId="{831FCE9B-D60A-4F99-A70E-13562F588D3E}" srcOrd="1" destOrd="0" presId="urn:microsoft.com/office/officeart/2005/8/layout/chevron2"/>
    <dgm:cxn modelId="{27E8A5D4-3843-46AF-A8A2-2D979218E186}" type="presParOf" srcId="{7E3F5711-D7CD-4A33-B15F-86803E063422}" destId="{CF8B0CBA-9A06-42C0-921B-8E44246C6888}" srcOrd="2" destOrd="0" presId="urn:microsoft.com/office/officeart/2005/8/layout/chevron2"/>
    <dgm:cxn modelId="{C272A7B4-C7DA-4620-AA93-77145610981F}" type="presParOf" srcId="{CF8B0CBA-9A06-42C0-921B-8E44246C6888}" destId="{5830D85E-A790-45FA-B823-67495E792902}" srcOrd="0" destOrd="0" presId="urn:microsoft.com/office/officeart/2005/8/layout/chevron2"/>
    <dgm:cxn modelId="{4FCDB326-3474-4901-83E8-D1B8DBC5501A}" type="presParOf" srcId="{CF8B0CBA-9A06-42C0-921B-8E44246C6888}" destId="{1A72E4E0-D485-4223-A72A-35584D344258}" srcOrd="1" destOrd="0" presId="urn:microsoft.com/office/officeart/2005/8/layout/chevron2"/>
    <dgm:cxn modelId="{F2DAFE96-4418-4034-AD0D-0C225305AAC4}" type="presParOf" srcId="{7E3F5711-D7CD-4A33-B15F-86803E063422}" destId="{8E465BFA-D8EC-409B-865C-19B3524F9493}" srcOrd="3" destOrd="0" presId="urn:microsoft.com/office/officeart/2005/8/layout/chevron2"/>
    <dgm:cxn modelId="{187FA375-D17A-4B9B-A88E-35C525830339}" type="presParOf" srcId="{7E3F5711-D7CD-4A33-B15F-86803E063422}" destId="{436DC277-1F91-4413-AD5B-BD229FCF9F48}" srcOrd="4" destOrd="0" presId="urn:microsoft.com/office/officeart/2005/8/layout/chevron2"/>
    <dgm:cxn modelId="{022C8381-A045-4520-AF97-2BCE8DCE0FEF}" type="presParOf" srcId="{436DC277-1F91-4413-AD5B-BD229FCF9F48}" destId="{CFE1D3BC-BEC4-4BBF-A75D-46135BC6291F}" srcOrd="0" destOrd="0" presId="urn:microsoft.com/office/officeart/2005/8/layout/chevron2"/>
    <dgm:cxn modelId="{8BDEEE1B-BE77-4F24-A05D-1C2AFE40ACDB}" type="presParOf" srcId="{436DC277-1F91-4413-AD5B-BD229FCF9F48}" destId="{D2A33958-7C6B-4F51-8A23-ABB85E8F8A15}" srcOrd="1" destOrd="0" presId="urn:microsoft.com/office/officeart/2005/8/layout/chevron2"/>
    <dgm:cxn modelId="{F2E21321-58A0-4023-9A25-471CD209B39D}" type="presParOf" srcId="{7E3F5711-D7CD-4A33-B15F-86803E063422}" destId="{07EE76CC-9AA0-48AB-AB45-EE51AD56F5F2}" srcOrd="5" destOrd="0" presId="urn:microsoft.com/office/officeart/2005/8/layout/chevron2"/>
    <dgm:cxn modelId="{9C3EBC70-9B9C-49DC-8510-289C483F60A9}" type="presParOf" srcId="{7E3F5711-D7CD-4A33-B15F-86803E063422}" destId="{BC1F3197-D2B9-4B7D-9C77-8EAFBCC3A436}" srcOrd="6" destOrd="0" presId="urn:microsoft.com/office/officeart/2005/8/layout/chevron2"/>
    <dgm:cxn modelId="{EDD2DE2E-D25E-491D-ADE1-4E0F98E8C2E9}" type="presParOf" srcId="{BC1F3197-D2B9-4B7D-9C77-8EAFBCC3A436}" destId="{16617CEC-3823-4169-9DE4-08B228DB9C4E}" srcOrd="0" destOrd="0" presId="urn:microsoft.com/office/officeart/2005/8/layout/chevron2"/>
    <dgm:cxn modelId="{AB928CE1-B96E-44C9-A02D-DD56A0A2A1DA}" type="presParOf" srcId="{BC1F3197-D2B9-4B7D-9C77-8EAFBCC3A436}" destId="{7A4AF501-658F-42DF-B379-505AF3AFA959}" srcOrd="1" destOrd="0" presId="urn:microsoft.com/office/officeart/2005/8/layout/chevron2"/>
    <dgm:cxn modelId="{815667ED-3966-43A4-83E8-E6F5CB424DE3}" type="presParOf" srcId="{7E3F5711-D7CD-4A33-B15F-86803E063422}" destId="{A017C433-D8F2-475E-B618-4FACCB7CD3C2}" srcOrd="7" destOrd="0" presId="urn:microsoft.com/office/officeart/2005/8/layout/chevron2"/>
    <dgm:cxn modelId="{57AB6DB8-0EB2-4A63-A237-F55BDE952B4B}" type="presParOf" srcId="{7E3F5711-D7CD-4A33-B15F-86803E063422}" destId="{B831488D-19E2-4F9F-8836-5CA4E5981728}" srcOrd="8" destOrd="0" presId="urn:microsoft.com/office/officeart/2005/8/layout/chevron2"/>
    <dgm:cxn modelId="{9942D592-BB62-471E-8D9C-55823469B01F}" type="presParOf" srcId="{B831488D-19E2-4F9F-8836-5CA4E5981728}" destId="{833DC541-69EA-4C2F-B343-53019084D906}" srcOrd="0" destOrd="0" presId="urn:microsoft.com/office/officeart/2005/8/layout/chevron2"/>
    <dgm:cxn modelId="{33AA53CB-1EB2-472E-8F5C-F1DC869F1703}" type="presParOf" srcId="{B831488D-19E2-4F9F-8836-5CA4E5981728}" destId="{EC9C46DF-6FBF-43F2-AAB1-1D1F82D68D04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нижение загрязнения атмосферного воздуха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окращение объемов сбросов загрязненных сточных вод в водные объекты Байкальской природной территории в границах Забайкальского края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Развитие системы особо-охраняемых природных территорий регионального значения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/>
      <dgm:spPr/>
      <dgm:t>
        <a:bodyPr/>
        <a:lstStyle/>
        <a:p>
          <a:endParaRPr lang="ru-RU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080BBD-8E43-4C13-90D4-A6E727ABB199}">
      <dgm:prSet phldrT="[Текст]"/>
      <dgm:spPr/>
      <dgm:t>
        <a:bodyPr/>
        <a:lstStyle/>
        <a:p>
          <a:endParaRPr lang="ru-RU" b="1" dirty="0">
            <a:latin typeface="+mn-lt"/>
          </a:endParaRPr>
        </a:p>
      </dgm:t>
    </dgm:pt>
    <dgm:pt modelId="{FC39AB6B-263D-46E6-80FB-5D2737A0D5B9}" type="parTrans" cxnId="{53112F14-5356-4859-9974-6DAEAFC56583}">
      <dgm:prSet/>
      <dgm:spPr/>
      <dgm:t>
        <a:bodyPr/>
        <a:lstStyle/>
        <a:p>
          <a:endParaRPr lang="ru-RU"/>
        </a:p>
      </dgm:t>
    </dgm:pt>
    <dgm:pt modelId="{3DF13EC9-6159-4938-9E1B-5EBDBD1A05B7}" type="sibTrans" cxnId="{53112F14-5356-4859-9974-6DAEAFC56583}">
      <dgm:prSet/>
      <dgm:spPr/>
      <dgm:t>
        <a:bodyPr/>
        <a:lstStyle/>
        <a:p>
          <a:endParaRPr lang="ru-RU"/>
        </a:p>
      </dgm:t>
    </dgm:pt>
    <dgm:pt modelId="{94645A85-37B4-4612-AC9C-315A60EB6A90}">
      <dgm:prSet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рганизация и обеспечение  природоохранной и научно-исследовательской деятельности. 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D8712A-5F74-4F32-8A6B-CAD16E5BA8E0}" type="parTrans" cxnId="{C7DBD960-8BA5-42EE-B4B4-FEEC1D8BF1C0}">
      <dgm:prSet/>
      <dgm:spPr/>
      <dgm:t>
        <a:bodyPr/>
        <a:lstStyle/>
        <a:p>
          <a:endParaRPr lang="ru-RU"/>
        </a:p>
      </dgm:t>
    </dgm:pt>
    <dgm:pt modelId="{CF7B48C3-0007-4CD7-866D-1B1941BEA4C6}" type="sibTrans" cxnId="{C7DBD960-8BA5-42EE-B4B4-FEEC1D8BF1C0}">
      <dgm:prSet/>
      <dgm:spPr/>
      <dgm:t>
        <a:bodyPr/>
        <a:lstStyle/>
        <a:p>
          <a:endParaRPr lang="ru-RU"/>
        </a:p>
      </dgm:t>
    </dgm:pt>
    <dgm:pt modelId="{56F23B6B-4A9B-470F-99A1-21CA2347EF4F}">
      <dgm:prSet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Повышение уровня экологической культуры, воспитание и просвещение населения края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5FAEBE-F858-4C7B-BC18-EF064860C9DF}" type="sibTrans" cxnId="{EA9F8E78-1A06-4E87-B632-F944F22BFD8D}">
      <dgm:prSet/>
      <dgm:spPr/>
      <dgm:t>
        <a:bodyPr/>
        <a:lstStyle/>
        <a:p>
          <a:endParaRPr lang="ru-RU"/>
        </a:p>
      </dgm:t>
    </dgm:pt>
    <dgm:pt modelId="{4C2A316C-C697-47D8-8DB9-D90197204A05}" type="parTrans" cxnId="{EA9F8E78-1A06-4E87-B632-F944F22BFD8D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4" custLinFactNeighborX="2223" custLinFactNeighborY="1303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89372" custLinFactNeighborX="-4882" custLinFactNeighborY="240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4" custLinFactNeighborX="2223" custLinFactNeighborY="938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0810" custScaleY="100935" custLinFactNeighborX="-4368" custLinFactNeighborY="150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4" custLinFactNeighborX="2223" custLinFactNeighborY="48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4" custScaleX="81674" custScaleY="90915" custLinFactNeighborX="-8786" custLinFactNeighborY="56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65A70B-49B8-4E0A-90B4-F897D8F75169}" type="pres">
      <dgm:prSet presAssocID="{30EE5556-49C6-48A7-B311-6100789F2FD9}" presName="sp" presStyleCnt="0"/>
      <dgm:spPr/>
    </dgm:pt>
    <dgm:pt modelId="{4BA48A19-67C5-4D6C-8DC0-2296405763C8}" type="pres">
      <dgm:prSet presAssocID="{00080BBD-8E43-4C13-90D4-A6E727ABB199}" presName="composite" presStyleCnt="0"/>
      <dgm:spPr/>
    </dgm:pt>
    <dgm:pt modelId="{6266A4CE-0042-4292-B875-D6ED7F251C27}" type="pres">
      <dgm:prSet presAssocID="{00080BBD-8E43-4C13-90D4-A6E727ABB199}" presName="parentText" presStyleLbl="alignNode1" presStyleIdx="3" presStyleCnt="4" custLinFactNeighborX="2223" custLinFactNeighborY="-1442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CE86FE-6538-44FF-BC5D-ADC3507C2F5A}" type="pres">
      <dgm:prSet presAssocID="{00080BBD-8E43-4C13-90D4-A6E727ABB199}" presName="descendantText" presStyleLbl="alignAcc1" presStyleIdx="3" presStyleCnt="4" custScaleX="91143" custScaleY="125204" custLinFactNeighborX="-3663" custLinFactNeighborY="-85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139EAED7-54A7-4713-8A75-2021DDDFAEB8}" type="presOf" srcId="{DBF741A3-E6A7-4631-A550-ECEAC5E91EEC}" destId="{DBFDEF8E-11A9-45BD-BD7E-4BCEC19E877E}" srcOrd="0" destOrd="0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AB33C712-7C63-40BC-9B11-D9A3975733DC}" type="presOf" srcId="{1058169D-D01B-4E78-A167-B894F26DBF1F}" destId="{5ECE7EA3-A7E3-4E0C-B975-41F9C359BA6D}" srcOrd="0" destOrd="0" presId="urn:microsoft.com/office/officeart/2005/8/layout/chevron2"/>
    <dgm:cxn modelId="{B54C36B5-F5A2-4573-A2B8-7C87DF95B6FE}" type="presOf" srcId="{A41EC202-0235-4971-8214-9C9E0056245F}" destId="{7215DEBD-BA07-40B8-9084-51F9C12F89A0}" srcOrd="0" destOrd="0" presId="urn:microsoft.com/office/officeart/2005/8/layout/chevron2"/>
    <dgm:cxn modelId="{D9BE5B84-6DBA-4BB3-B96D-7F0A723EDDB2}" type="presOf" srcId="{DBB94CE4-DB1D-4384-B5A5-8A8B65F2D703}" destId="{A7EDEBFF-6510-4F63-9A07-4BC55A52FD68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51B9EAAE-7031-48D7-8CCA-2B7CF7B0A8D6}" type="presOf" srcId="{00080BBD-8E43-4C13-90D4-A6E727ABB199}" destId="{6266A4CE-0042-4292-B875-D6ED7F251C27}" srcOrd="0" destOrd="0" presId="urn:microsoft.com/office/officeart/2005/8/layout/chevron2"/>
    <dgm:cxn modelId="{C97A34D0-B9E4-48E3-A2FF-11BF8206C2CC}" type="presOf" srcId="{3C7A2CFB-CD03-4E12-88F2-8CA3BB8DE437}" destId="{EAE1A14D-E2BD-42E6-894E-5B7C5940284F}" srcOrd="0" destOrd="0" presId="urn:microsoft.com/office/officeart/2005/8/layout/chevron2"/>
    <dgm:cxn modelId="{7D2C7886-F108-4A3F-AFA5-E8671B3E144E}" type="presOf" srcId="{72F5F253-0FCF-4EBD-9B0F-341A5B3559E5}" destId="{2EBACB9A-1682-415B-97FD-B76DBC3B4EE1}" srcOrd="0" destOrd="0" presId="urn:microsoft.com/office/officeart/2005/8/layout/chevron2"/>
    <dgm:cxn modelId="{53112F14-5356-4859-9974-6DAEAFC56583}" srcId="{72F5F253-0FCF-4EBD-9B0F-341A5B3559E5}" destId="{00080BBD-8E43-4C13-90D4-A6E727ABB199}" srcOrd="3" destOrd="0" parTransId="{FC39AB6B-263D-46E6-80FB-5D2737A0D5B9}" sibTransId="{3DF13EC9-6159-4938-9E1B-5EBDBD1A05B7}"/>
    <dgm:cxn modelId="{EA9F8E78-1A06-4E87-B632-F944F22BFD8D}" srcId="{00080BBD-8E43-4C13-90D4-A6E727ABB199}" destId="{56F23B6B-4A9B-470F-99A1-21CA2347EF4F}" srcOrd="1" destOrd="0" parTransId="{4C2A316C-C697-47D8-8DB9-D90197204A05}" sibTransId="{1F5FAEBE-F858-4C7B-BC18-EF064860C9DF}"/>
    <dgm:cxn modelId="{C7DBD960-8BA5-42EE-B4B4-FEEC1D8BF1C0}" srcId="{00080BBD-8E43-4C13-90D4-A6E727ABB199}" destId="{94645A85-37B4-4612-AC9C-315A60EB6A90}" srcOrd="0" destOrd="0" parTransId="{87D8712A-5F74-4F32-8A6B-CAD16E5BA8E0}" sibTransId="{CF7B48C3-0007-4CD7-866D-1B1941BEA4C6}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E270158D-CC6A-4F87-9EFA-698B37AD8E25}" type="presOf" srcId="{9A48CEB5-4D6A-4D74-B750-853B836C2855}" destId="{66D94BEC-4599-4ED7-9FC7-DAEAE4367748}" srcOrd="0" destOrd="0" presId="urn:microsoft.com/office/officeart/2005/8/layout/chevron2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D7DA7731-7902-4A42-B830-C8BAE7E0A232}" type="presOf" srcId="{94645A85-37B4-4612-AC9C-315A60EB6A90}" destId="{0DCE86FE-6538-44FF-BC5D-ADC3507C2F5A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3D5D6941-0F1B-4ACD-8200-5DD5352BA511}" type="presOf" srcId="{56F23B6B-4A9B-470F-99A1-21CA2347EF4F}" destId="{0DCE86FE-6538-44FF-BC5D-ADC3507C2F5A}" srcOrd="0" destOrd="1" presId="urn:microsoft.com/office/officeart/2005/8/layout/chevron2"/>
    <dgm:cxn modelId="{6E87D29E-98C1-4E65-8D06-4EC55647B0FF}" type="presParOf" srcId="{2EBACB9A-1682-415B-97FD-B76DBC3B4EE1}" destId="{889DC4C8-A67D-4E9E-BB56-527B835DC9F7}" srcOrd="0" destOrd="0" presId="urn:microsoft.com/office/officeart/2005/8/layout/chevron2"/>
    <dgm:cxn modelId="{2BF8E12B-6902-43F8-9177-42786ADF2044}" type="presParOf" srcId="{889DC4C8-A67D-4E9E-BB56-527B835DC9F7}" destId="{66D94BEC-4599-4ED7-9FC7-DAEAE4367748}" srcOrd="0" destOrd="0" presId="urn:microsoft.com/office/officeart/2005/8/layout/chevron2"/>
    <dgm:cxn modelId="{595AA725-6F59-4207-B4E1-0281A3D88073}" type="presParOf" srcId="{889DC4C8-A67D-4E9E-BB56-527B835DC9F7}" destId="{5ECE7EA3-A7E3-4E0C-B975-41F9C359BA6D}" srcOrd="1" destOrd="0" presId="urn:microsoft.com/office/officeart/2005/8/layout/chevron2"/>
    <dgm:cxn modelId="{259BD670-FE7F-4CEF-A25F-B1248F180C56}" type="presParOf" srcId="{2EBACB9A-1682-415B-97FD-B76DBC3B4EE1}" destId="{C34CB2AB-3B8E-4C06-8F26-5EBC05285B68}" srcOrd="1" destOrd="0" presId="urn:microsoft.com/office/officeart/2005/8/layout/chevron2"/>
    <dgm:cxn modelId="{50E61E25-6E92-413A-8098-0A52D4FD94B9}" type="presParOf" srcId="{2EBACB9A-1682-415B-97FD-B76DBC3B4EE1}" destId="{DEC8D6F7-2F1C-450B-91DC-CC99C65EE88F}" srcOrd="2" destOrd="0" presId="urn:microsoft.com/office/officeart/2005/8/layout/chevron2"/>
    <dgm:cxn modelId="{14B28A4F-E1C3-4EF1-BB3D-F5C51728DFFD}" type="presParOf" srcId="{DEC8D6F7-2F1C-450B-91DC-CC99C65EE88F}" destId="{EAE1A14D-E2BD-42E6-894E-5B7C5940284F}" srcOrd="0" destOrd="0" presId="urn:microsoft.com/office/officeart/2005/8/layout/chevron2"/>
    <dgm:cxn modelId="{71107DD4-A013-48C0-BFE2-9E5C6FCD434A}" type="presParOf" srcId="{DEC8D6F7-2F1C-450B-91DC-CC99C65EE88F}" destId="{7215DEBD-BA07-40B8-9084-51F9C12F89A0}" srcOrd="1" destOrd="0" presId="urn:microsoft.com/office/officeart/2005/8/layout/chevron2"/>
    <dgm:cxn modelId="{7EC836CE-6C83-4699-A476-D70F0341F0C8}" type="presParOf" srcId="{2EBACB9A-1682-415B-97FD-B76DBC3B4EE1}" destId="{07BF5B05-83A9-4005-B66C-666107BF56A4}" srcOrd="3" destOrd="0" presId="urn:microsoft.com/office/officeart/2005/8/layout/chevron2"/>
    <dgm:cxn modelId="{B3808DD1-D76D-4DBA-8E5B-520EAA19F277}" type="presParOf" srcId="{2EBACB9A-1682-415B-97FD-B76DBC3B4EE1}" destId="{C1BEE75E-3C08-4079-B4DE-7A60B7C5B46B}" srcOrd="4" destOrd="0" presId="urn:microsoft.com/office/officeart/2005/8/layout/chevron2"/>
    <dgm:cxn modelId="{ED63FAB4-2E2D-454E-A530-4755D7F11C0A}" type="presParOf" srcId="{C1BEE75E-3C08-4079-B4DE-7A60B7C5B46B}" destId="{A7EDEBFF-6510-4F63-9A07-4BC55A52FD68}" srcOrd="0" destOrd="0" presId="urn:microsoft.com/office/officeart/2005/8/layout/chevron2"/>
    <dgm:cxn modelId="{C23C9DA3-CF5C-40FC-8D77-244233649DCC}" type="presParOf" srcId="{C1BEE75E-3C08-4079-B4DE-7A60B7C5B46B}" destId="{DBFDEF8E-11A9-45BD-BD7E-4BCEC19E877E}" srcOrd="1" destOrd="0" presId="urn:microsoft.com/office/officeart/2005/8/layout/chevron2"/>
    <dgm:cxn modelId="{E4A2AE59-A3BF-4B9C-B5A1-ADF771BD2448}" type="presParOf" srcId="{2EBACB9A-1682-415B-97FD-B76DBC3B4EE1}" destId="{8465A70B-49B8-4E0A-90B4-F897D8F75169}" srcOrd="5" destOrd="0" presId="urn:microsoft.com/office/officeart/2005/8/layout/chevron2"/>
    <dgm:cxn modelId="{2AD40C1A-27DC-4624-A307-556FB5FF76FB}" type="presParOf" srcId="{2EBACB9A-1682-415B-97FD-B76DBC3B4EE1}" destId="{4BA48A19-67C5-4D6C-8DC0-2296405763C8}" srcOrd="6" destOrd="0" presId="urn:microsoft.com/office/officeart/2005/8/layout/chevron2"/>
    <dgm:cxn modelId="{D6EA98E7-3214-40FA-8495-F0127ADB0019}" type="presParOf" srcId="{4BA48A19-67C5-4D6C-8DC0-2296405763C8}" destId="{6266A4CE-0042-4292-B875-D6ED7F251C27}" srcOrd="0" destOrd="0" presId="urn:microsoft.com/office/officeart/2005/8/layout/chevron2"/>
    <dgm:cxn modelId="{6605EA09-914E-4E50-949C-1C9DCC26870B}" type="presParOf" srcId="{4BA48A19-67C5-4D6C-8DC0-2296405763C8}" destId="{0DCE86FE-6538-44FF-BC5D-ADC3507C2F5A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6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В рамках реализации регионального проекта «Чистый воздух»: закрытие 3 котельных и строительство троллейбусной линии «Троллейбусное депо – </a:t>
          </a:r>
          <a:r>
            <a:rPr lang="ru-RU" sz="1600" b="1" dirty="0" err="1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Каштак</a:t>
          </a:r>
          <a:r>
            <a:rPr lang="ru-RU" sz="16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» </a:t>
          </a:r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13052036-693A-466B-BFDE-F0D3BDCFADF7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В рамках реализации регионального проекта «Сохранение озера Байкал»: строительство очистных сооружений в п. Тарбагатай Петровск-Забайкальского района и п. ст. Жипхеген Хилокского района, реконструкция очистных сооружений в г. Хилок</a:t>
          </a:r>
        </a:p>
      </dgm:t>
    </dgm:pt>
    <dgm:pt modelId="{7E28CD6F-3218-4455-921E-8D1F1BB1971A}" type="parTrans" cxnId="{BE68A7E0-A643-48E8-B272-621072B983FD}">
      <dgm:prSet/>
      <dgm:spPr/>
      <dgm:t>
        <a:bodyPr/>
        <a:lstStyle/>
        <a:p>
          <a:endParaRPr lang="ru-RU"/>
        </a:p>
      </dgm:t>
    </dgm:pt>
    <dgm:pt modelId="{8F9088BC-8399-42AB-B2EE-7E4B552286A6}" type="sibTrans" cxnId="{BE68A7E0-A643-48E8-B272-621072B983FD}">
      <dgm:prSet/>
      <dgm:spPr/>
      <dgm:t>
        <a:bodyPr/>
        <a:lstStyle/>
        <a:p>
          <a:endParaRPr lang="ru-RU"/>
        </a:p>
      </dgm:t>
    </dgm:pt>
    <dgm:pt modelId="{A2D7908C-ACA8-4CE3-B169-9C0F510995E9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A5D8C9E-E0E8-41B2-A917-0D5176E83316}" type="parTrans" cxnId="{195BD717-60BE-44EE-99E6-42A17550850E}">
      <dgm:prSet/>
      <dgm:spPr/>
      <dgm:t>
        <a:bodyPr/>
        <a:lstStyle/>
        <a:p>
          <a:endParaRPr lang="ru-RU"/>
        </a:p>
      </dgm:t>
    </dgm:pt>
    <dgm:pt modelId="{C2876768-93C9-4EE3-92EA-015ADECFDA34}" type="sibTrans" cxnId="{195BD717-60BE-44EE-99E6-42A17550850E}">
      <dgm:prSet/>
      <dgm:spPr/>
      <dgm:t>
        <a:bodyPr/>
        <a:lstStyle/>
        <a:p>
          <a:endParaRPr lang="ru-RU"/>
        </a:p>
      </dgm:t>
    </dgm:pt>
    <dgm:pt modelId="{21AD91A0-C718-46B0-BD4F-18E55DEA6E54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существление регионального государственного надзора в области охраны окружающей среды</a:t>
          </a:r>
        </a:p>
      </dgm:t>
    </dgm:pt>
    <dgm:pt modelId="{C66D18F7-0CA5-4C27-931A-E44EA4123846}" type="parTrans" cxnId="{A40EF376-156A-42E8-BB00-1631E9B56EDF}">
      <dgm:prSet/>
      <dgm:spPr/>
      <dgm:t>
        <a:bodyPr/>
        <a:lstStyle/>
        <a:p>
          <a:endParaRPr lang="ru-RU"/>
        </a:p>
      </dgm:t>
    </dgm:pt>
    <dgm:pt modelId="{F1E3F0F2-1D0A-47FD-A942-43C7649B7773}" type="sibTrans" cxnId="{A40EF376-156A-42E8-BB00-1631E9B56EDF}">
      <dgm:prSet/>
      <dgm:spPr/>
      <dgm:t>
        <a:bodyPr/>
        <a:lstStyle/>
        <a:p>
          <a:endParaRPr lang="ru-RU"/>
        </a:p>
      </dgm:t>
    </dgm:pt>
    <dgm:pt modelId="{32633753-7BA0-4F61-9C56-55E3BC7E42AE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рганизация и обеспечение  природоохранной, научно-исследовательской и эколого-просветительской деятельности</a:t>
          </a:r>
        </a:p>
      </dgm:t>
    </dgm:pt>
    <dgm:pt modelId="{AD244AA9-6A6D-42A6-8E83-B7B216F921C8}" type="parTrans" cxnId="{CBCACD8F-B7BC-43D9-AA28-DD06C18E80E3}">
      <dgm:prSet/>
      <dgm:spPr/>
      <dgm:t>
        <a:bodyPr/>
        <a:lstStyle/>
        <a:p>
          <a:endParaRPr lang="ru-RU"/>
        </a:p>
      </dgm:t>
    </dgm:pt>
    <dgm:pt modelId="{9BC5D50A-418F-4306-8A4B-98EA0A2AB2A4}" type="sibTrans" cxnId="{CBCACD8F-B7BC-43D9-AA28-DD06C18E80E3}">
      <dgm:prSet/>
      <dgm:spPr/>
      <dgm:t>
        <a:bodyPr/>
        <a:lstStyle/>
        <a:p>
          <a:endParaRPr lang="ru-RU"/>
        </a:p>
      </dgm:t>
    </dgm:pt>
    <dgm:pt modelId="{736E1FA7-940E-4AC0-A1E4-65703C51B846}">
      <dgm:prSet custT="1"/>
      <dgm:spPr/>
      <dgm:t>
        <a:bodyPr/>
        <a:lstStyle/>
        <a:p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28EAF6-A5FF-46E4-A80C-2BA3CC4D3102}" type="parTrans" cxnId="{F6D87DF7-D0A8-466E-8C23-5DB29FD46440}">
      <dgm:prSet/>
      <dgm:spPr/>
      <dgm:t>
        <a:bodyPr/>
        <a:lstStyle/>
        <a:p>
          <a:endParaRPr lang="ru-RU"/>
        </a:p>
      </dgm:t>
    </dgm:pt>
    <dgm:pt modelId="{BB295063-49D2-465C-82CD-71332A429214}" type="sibTrans" cxnId="{F6D87DF7-D0A8-466E-8C23-5DB29FD46440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C845FC7B-1616-4BC7-82E1-019D759B2E4C}" type="presOf" srcId="{736E1FA7-940E-4AC0-A1E4-65703C51B846}" destId="{054E0B3D-A8D3-46C8-8CC8-57479A6700D3}" srcOrd="0" destOrd="3" presId="urn:microsoft.com/office/officeart/2005/8/layout/chevron2"/>
    <dgm:cxn modelId="{E264829C-38B7-462C-9962-F34C93E1A1F9}" type="presOf" srcId="{58CB288E-F9F4-4BB8-9851-2A6C7C3578F4}" destId="{4BC5D174-82E1-455A-8266-2EF651317590}" srcOrd="0" destOrd="0" presId="urn:microsoft.com/office/officeart/2005/8/layout/chevron2"/>
    <dgm:cxn modelId="{195BD717-60BE-44EE-99E6-42A17550850E}" srcId="{18728B41-1962-40FC-B86A-9356146B5A68}" destId="{A2D7908C-ACA8-4CE3-B169-9C0F510995E9}" srcOrd="2" destOrd="0" parTransId="{CA5D8C9E-E0E8-41B2-A917-0D5176E83316}" sibTransId="{C2876768-93C9-4EE3-92EA-015ADECFDA34}"/>
    <dgm:cxn modelId="{F6A3F0BB-D164-43F3-9C83-658683851727}" type="presOf" srcId="{DEA64100-CF05-47A1-B324-B7A5DDB36E93}" destId="{29C5F787-6539-40B8-B7D2-7E50296FD528}" srcOrd="0" destOrd="0" presId="urn:microsoft.com/office/officeart/2005/8/layout/chevron2"/>
    <dgm:cxn modelId="{BFF9FA7A-4DF2-4D7B-893C-D0A402E656B6}" type="presOf" srcId="{13052036-693A-466B-BFDE-F0D3BDCFADF7}" destId="{BA1055A7-1216-4086-83B6-4D1BE3CE8907}" srcOrd="0" destOrd="1" presId="urn:microsoft.com/office/officeart/2005/8/layout/chevron2"/>
    <dgm:cxn modelId="{669E1126-769A-4BC4-947C-9BAE3E2654C6}" type="presOf" srcId="{18728B41-1962-40FC-B86A-9356146B5A68}" destId="{B3C1D9A3-46B4-4E40-BD14-497C0DCDB4DC}" srcOrd="0" destOrd="0" presId="urn:microsoft.com/office/officeart/2005/8/layout/chevron2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562B8434-CB0B-4ACB-B27B-8322030F1B79}" type="presOf" srcId="{E8C4C2EF-81D2-4B22-8A1D-88D0C558CD53}" destId="{302FC55C-58A2-4FF3-96AC-10CFA0052481}" srcOrd="0" destOrd="0" presId="urn:microsoft.com/office/officeart/2005/8/layout/chevron2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6B0547BD-5034-48BD-8ED2-A274F86132ED}" type="presOf" srcId="{D411A21B-1094-4E74-9F1B-CF6C6E2B675E}" destId="{CEB1617E-7ABE-4EBF-B914-C8E149BFD968}" srcOrd="0" destOrd="0" presId="urn:microsoft.com/office/officeart/2005/8/layout/chevron2"/>
    <dgm:cxn modelId="{CBCACD8F-B7BC-43D9-AA28-DD06C18E80E3}" srcId="{E8C4C2EF-81D2-4B22-8A1D-88D0C558CD53}" destId="{32633753-7BA0-4F61-9C56-55E3BC7E42AE}" srcOrd="2" destOrd="0" parTransId="{AD244AA9-6A6D-42A6-8E83-B7B216F921C8}" sibTransId="{9BC5D50A-418F-4306-8A4B-98EA0A2AB2A4}"/>
    <dgm:cxn modelId="{51C9EA6E-534C-4F75-82E1-B5CF000F7B7B}" type="presOf" srcId="{1ABDF41F-8084-474E-8ACB-67C32FF2A1EF}" destId="{054E0B3D-A8D3-46C8-8CC8-57479A6700D3}" srcOrd="0" destOrd="0" presId="urn:microsoft.com/office/officeart/2005/8/layout/chevron2"/>
    <dgm:cxn modelId="{BE68A7E0-A643-48E8-B272-621072B983FD}" srcId="{18728B41-1962-40FC-B86A-9356146B5A68}" destId="{13052036-693A-466B-BFDE-F0D3BDCFADF7}" srcOrd="1" destOrd="0" parTransId="{7E28CD6F-3218-4455-921E-8D1F1BB1971A}" sibTransId="{8F9088BC-8399-42AB-B2EE-7E4B552286A6}"/>
    <dgm:cxn modelId="{A40EF376-156A-42E8-BB00-1631E9B56EDF}" srcId="{E8C4C2EF-81D2-4B22-8A1D-88D0C558CD53}" destId="{21AD91A0-C718-46B0-BD4F-18E55DEA6E54}" srcOrd="1" destOrd="0" parTransId="{C66D18F7-0CA5-4C27-931A-E44EA4123846}" sibTransId="{F1E3F0F2-1D0A-47FD-A942-43C7649B7773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94B59BA0-4C23-407A-BD35-36B54CECB38D}" type="presOf" srcId="{32633753-7BA0-4F61-9C56-55E3BC7E42AE}" destId="{054E0B3D-A8D3-46C8-8CC8-57479A6700D3}" srcOrd="0" destOrd="2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5E10714E-23A2-403E-B8D1-B286D774C9C8}" type="presOf" srcId="{A2D40B80-A2E8-49E7-8480-DF0AD1F27530}" destId="{BA1055A7-1216-4086-83B6-4D1BE3CE8907}" srcOrd="0" destOrd="0" presId="urn:microsoft.com/office/officeart/2005/8/layout/chevron2"/>
    <dgm:cxn modelId="{AD44C671-2E7B-48C7-835C-69B04B6D64B0}" type="presOf" srcId="{A2D7908C-ACA8-4CE3-B169-9C0F510995E9}" destId="{BA1055A7-1216-4086-83B6-4D1BE3CE8907}" srcOrd="0" destOrd="2" presId="urn:microsoft.com/office/officeart/2005/8/layout/chevron2"/>
    <dgm:cxn modelId="{FAA89DB8-8F1C-4D93-B08D-6FFDC5887B0B}" type="presOf" srcId="{21AD91A0-C718-46B0-BD4F-18E55DEA6E54}" destId="{054E0B3D-A8D3-46C8-8CC8-57479A6700D3}" srcOrd="0" destOrd="1" presId="urn:microsoft.com/office/officeart/2005/8/layout/chevron2"/>
    <dgm:cxn modelId="{F6D87DF7-D0A8-466E-8C23-5DB29FD46440}" srcId="{E8C4C2EF-81D2-4B22-8A1D-88D0C558CD53}" destId="{736E1FA7-940E-4AC0-A1E4-65703C51B846}" srcOrd="3" destOrd="0" parTransId="{B028EAF6-A5FF-46E4-A80C-2BA3CC4D3102}" sibTransId="{BB295063-49D2-465C-82CD-71332A429214}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4A84FD55-7360-4D9F-9099-6867ED90D823}" type="presParOf" srcId="{CEB1617E-7ABE-4EBF-B914-C8E149BFD968}" destId="{85B13D13-17B0-48B9-8B0B-E25A451A0D88}" srcOrd="0" destOrd="0" presId="urn:microsoft.com/office/officeart/2005/8/layout/chevron2"/>
    <dgm:cxn modelId="{265A9DDB-C75A-4199-A0FF-54D86BE1C6FF}" type="presParOf" srcId="{85B13D13-17B0-48B9-8B0B-E25A451A0D88}" destId="{29C5F787-6539-40B8-B7D2-7E50296FD528}" srcOrd="0" destOrd="0" presId="urn:microsoft.com/office/officeart/2005/8/layout/chevron2"/>
    <dgm:cxn modelId="{D500CD10-359B-43D8-8F78-0B9CABC45CB0}" type="presParOf" srcId="{85B13D13-17B0-48B9-8B0B-E25A451A0D88}" destId="{4BC5D174-82E1-455A-8266-2EF651317590}" srcOrd="1" destOrd="0" presId="urn:microsoft.com/office/officeart/2005/8/layout/chevron2"/>
    <dgm:cxn modelId="{BF717DF9-9B42-4130-A530-C9BDDE26F0E3}" type="presParOf" srcId="{CEB1617E-7ABE-4EBF-B914-C8E149BFD968}" destId="{F4A068E8-600F-46D8-82E3-B7B2E8ED51B3}" srcOrd="1" destOrd="0" presId="urn:microsoft.com/office/officeart/2005/8/layout/chevron2"/>
    <dgm:cxn modelId="{4DB168A9-4344-49F1-8751-62FEA82FF891}" type="presParOf" srcId="{CEB1617E-7ABE-4EBF-B914-C8E149BFD968}" destId="{90FA17FB-56EA-4A20-A631-3E2625120CA1}" srcOrd="2" destOrd="0" presId="urn:microsoft.com/office/officeart/2005/8/layout/chevron2"/>
    <dgm:cxn modelId="{3C3C0993-BB8A-4ADB-8622-658B8D24D45D}" type="presParOf" srcId="{90FA17FB-56EA-4A20-A631-3E2625120CA1}" destId="{B3C1D9A3-46B4-4E40-BD14-497C0DCDB4DC}" srcOrd="0" destOrd="0" presId="urn:microsoft.com/office/officeart/2005/8/layout/chevron2"/>
    <dgm:cxn modelId="{E20194F7-797C-4B7A-A090-8FAB5CBFC7EF}" type="presParOf" srcId="{90FA17FB-56EA-4A20-A631-3E2625120CA1}" destId="{BA1055A7-1216-4086-83B6-4D1BE3CE8907}" srcOrd="1" destOrd="0" presId="urn:microsoft.com/office/officeart/2005/8/layout/chevron2"/>
    <dgm:cxn modelId="{77171BA1-57C3-4D0F-B3D9-6A1969C8A369}" type="presParOf" srcId="{CEB1617E-7ABE-4EBF-B914-C8E149BFD968}" destId="{6ACCA3A6-7906-4632-B4CE-95157EE0E867}" srcOrd="3" destOrd="0" presId="urn:microsoft.com/office/officeart/2005/8/layout/chevron2"/>
    <dgm:cxn modelId="{D59F51BC-82C1-4894-BA41-C745D0A1A99D}" type="presParOf" srcId="{CEB1617E-7ABE-4EBF-B914-C8E149BFD968}" destId="{A26BA277-20E8-46F6-83B8-E92FFAE0EF5A}" srcOrd="4" destOrd="0" presId="urn:microsoft.com/office/officeart/2005/8/layout/chevron2"/>
    <dgm:cxn modelId="{C3C59087-CAAA-4649-ADB5-C407022F69F0}" type="presParOf" srcId="{A26BA277-20E8-46F6-83B8-E92FFAE0EF5A}" destId="{302FC55C-58A2-4FF3-96AC-10CFA0052481}" srcOrd="0" destOrd="0" presId="urn:microsoft.com/office/officeart/2005/8/layout/chevron2"/>
    <dgm:cxn modelId="{F4AFAB4B-5BDA-40ED-977D-18F02BE25528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736E1FA7-940E-4AC0-A1E4-65703C51B846}">
      <dgm:prSet custT="1"/>
      <dgm:spPr/>
      <dgm:t>
        <a:bodyPr/>
        <a:lstStyle/>
        <a:p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28EAF6-A5FF-46E4-A80C-2BA3CC4D3102}" type="parTrans" cxnId="{F6D87DF7-D0A8-466E-8C23-5DB29FD46440}">
      <dgm:prSet/>
      <dgm:spPr/>
      <dgm:t>
        <a:bodyPr/>
        <a:lstStyle/>
        <a:p>
          <a:endParaRPr lang="ru-RU"/>
        </a:p>
      </dgm:t>
    </dgm:pt>
    <dgm:pt modelId="{BB295063-49D2-465C-82CD-71332A429214}" type="sibTrans" cxnId="{F6D87DF7-D0A8-466E-8C23-5DB29FD46440}">
      <dgm:prSet/>
      <dgm:spPr/>
      <dgm:t>
        <a:bodyPr/>
        <a:lstStyle/>
        <a:p>
          <a:endParaRPr lang="ru-RU"/>
        </a:p>
      </dgm:t>
    </dgm:pt>
    <dgm:pt modelId="{900867A5-71F0-4050-9D17-1319479DD264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Рациональное и неистощимое использование охотничьих ресурсов</a:t>
          </a:r>
        </a:p>
      </dgm:t>
    </dgm:pt>
    <dgm:pt modelId="{689F5188-E580-4FBE-B4DD-296E6A86D589}" type="parTrans" cxnId="{9B83897D-90EA-43DC-AFA6-D2158597017B}">
      <dgm:prSet/>
      <dgm:spPr/>
      <dgm:t>
        <a:bodyPr/>
        <a:lstStyle/>
        <a:p>
          <a:endParaRPr lang="ru-RU"/>
        </a:p>
      </dgm:t>
    </dgm:pt>
    <dgm:pt modelId="{ADB9ED0D-E150-4C4C-94BF-2B57FEAB2FEF}" type="sibTrans" cxnId="{9B83897D-90EA-43DC-AFA6-D2158597017B}">
      <dgm:prSet/>
      <dgm:spPr/>
      <dgm:t>
        <a:bodyPr/>
        <a:lstStyle/>
        <a:p>
          <a:endParaRPr lang="ru-RU"/>
        </a:p>
      </dgm:t>
    </dgm:pt>
    <dgm:pt modelId="{FAAC2564-89BA-498A-AA50-C515F1329566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Обеспечение доступности охотничьих ресурсов для охотников</a:t>
          </a:r>
        </a:p>
      </dgm:t>
    </dgm:pt>
    <dgm:pt modelId="{97CEBC77-D396-401A-8AB4-A000D4E1E6AE}" type="parTrans" cxnId="{2058CC8A-CBA0-4151-BC77-9CC5F30E0764}">
      <dgm:prSet/>
      <dgm:spPr/>
      <dgm:t>
        <a:bodyPr/>
        <a:lstStyle/>
        <a:p>
          <a:endParaRPr lang="ru-RU"/>
        </a:p>
      </dgm:t>
    </dgm:pt>
    <dgm:pt modelId="{50709953-C41D-4317-8129-F0AA93923264}" type="sibTrans" cxnId="{2058CC8A-CBA0-4151-BC77-9CC5F30E0764}">
      <dgm:prSet/>
      <dgm:spPr/>
      <dgm:t>
        <a:bodyPr/>
        <a:lstStyle/>
        <a:p>
          <a:endParaRPr lang="ru-RU"/>
        </a:p>
      </dgm:t>
    </dgm:pt>
    <dgm:pt modelId="{9DE67515-AAD3-4572-A14A-883CF450B503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70D8C8-C372-481C-A2C5-0155F1B26106}" type="parTrans" cxnId="{14108628-7B53-42B5-8C1E-745065F6BA23}">
      <dgm:prSet/>
      <dgm:spPr/>
      <dgm:t>
        <a:bodyPr/>
        <a:lstStyle/>
        <a:p>
          <a:endParaRPr lang="ru-RU"/>
        </a:p>
      </dgm:t>
    </dgm:pt>
    <dgm:pt modelId="{111DD224-21B2-4834-8684-D109BDA0C007}" type="sibTrans" cxnId="{14108628-7B53-42B5-8C1E-745065F6BA23}">
      <dgm:prSet/>
      <dgm:spPr/>
      <dgm:t>
        <a:bodyPr/>
        <a:lstStyle/>
        <a:p>
          <a:endParaRPr lang="ru-RU"/>
        </a:p>
      </dgm:t>
    </dgm:pt>
    <dgm:pt modelId="{1EC795F3-0A48-49A6-8B04-885F3EB61E45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Сохранение и увеличение численности отдельных видов животных с учетом региональных особенностей Забайкальского края</a:t>
          </a:r>
        </a:p>
      </dgm:t>
    </dgm:pt>
    <dgm:pt modelId="{CDC15DBC-F163-4D28-832F-873CC4DEB86D}" type="parTrans" cxnId="{96AF1DBA-BB1D-49F9-9449-DF47F8282F23}">
      <dgm:prSet/>
      <dgm:spPr/>
      <dgm:t>
        <a:bodyPr/>
        <a:lstStyle/>
        <a:p>
          <a:endParaRPr lang="ru-RU"/>
        </a:p>
      </dgm:t>
    </dgm:pt>
    <dgm:pt modelId="{50A7CE43-3758-417C-AA11-E43E2D2FEFF0}" type="sibTrans" cxnId="{96AF1DBA-BB1D-49F9-9449-DF47F8282F23}">
      <dgm:prSet/>
      <dgm:spPr/>
      <dgm:t>
        <a:bodyPr/>
        <a:lstStyle/>
        <a:p>
          <a:endParaRPr lang="ru-RU"/>
        </a:p>
      </dgm:t>
    </dgm:pt>
    <dgm:pt modelId="{8DFE9A99-6F26-4ADF-B2BC-46C29F7BAEC5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Увеличение количества охотничьих хозяйств и доли закрепленных охотугодий</a:t>
          </a:r>
        </a:p>
      </dgm:t>
    </dgm:pt>
    <dgm:pt modelId="{A046F124-9DDC-4EA3-9F1D-84A7AAD8CFFD}" type="parTrans" cxnId="{6402A2C7-86E6-4136-9B89-D721E4E015FE}">
      <dgm:prSet/>
      <dgm:spPr/>
      <dgm:t>
        <a:bodyPr/>
        <a:lstStyle/>
        <a:p>
          <a:endParaRPr lang="ru-RU"/>
        </a:p>
      </dgm:t>
    </dgm:pt>
    <dgm:pt modelId="{D7A6F28C-E70A-4F50-B4A2-0820A5F4B1BE}" type="sibTrans" cxnId="{6402A2C7-86E6-4136-9B89-D721E4E015FE}">
      <dgm:prSet/>
      <dgm:spPr/>
      <dgm:t>
        <a:bodyPr/>
        <a:lstStyle/>
        <a:p>
          <a:endParaRPr lang="ru-RU"/>
        </a:p>
      </dgm:t>
    </dgm:pt>
    <dgm:pt modelId="{E3706F63-DF17-4BD8-927D-B1F08C8D7A49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945157-8BA6-4B73-911D-0CB212175CAD}" type="parTrans" cxnId="{0ADC4D9E-BE6C-4EFD-92D4-CE1AD2CE7ED2}">
      <dgm:prSet/>
      <dgm:spPr/>
      <dgm:t>
        <a:bodyPr/>
        <a:lstStyle/>
        <a:p>
          <a:endParaRPr lang="ru-RU"/>
        </a:p>
      </dgm:t>
    </dgm:pt>
    <dgm:pt modelId="{3C6A795B-F1D6-4633-BDEF-B85AD721A09B}" type="sibTrans" cxnId="{0ADC4D9E-BE6C-4EFD-92D4-CE1AD2CE7ED2}">
      <dgm:prSet/>
      <dgm:spPr/>
      <dgm:t>
        <a:bodyPr/>
        <a:lstStyle/>
        <a:p>
          <a:endParaRPr lang="ru-RU"/>
        </a:p>
      </dgm:t>
    </dgm:pt>
    <dgm:pt modelId="{40E4D91A-36C3-44D0-AFE9-0DDC1DC3FF2E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имулирование привлечения инвестиций в охотничье хозяйство</a:t>
          </a:r>
        </a:p>
      </dgm:t>
    </dgm:pt>
    <dgm:pt modelId="{C0175123-B7C2-4E13-8B02-3F63788A7EAA}" type="parTrans" cxnId="{BE71DEFA-DC2B-415C-890D-B9C24F121C17}">
      <dgm:prSet/>
      <dgm:spPr/>
      <dgm:t>
        <a:bodyPr/>
        <a:lstStyle/>
        <a:p>
          <a:endParaRPr lang="ru-RU"/>
        </a:p>
      </dgm:t>
    </dgm:pt>
    <dgm:pt modelId="{05208B20-7D8F-4A98-9A67-62119724751A}" type="sibTrans" cxnId="{BE71DEFA-DC2B-415C-890D-B9C24F121C17}">
      <dgm:prSet/>
      <dgm:spPr/>
      <dgm:t>
        <a:bodyPr/>
        <a:lstStyle/>
        <a:p>
          <a:endParaRPr lang="ru-RU"/>
        </a:p>
      </dgm:t>
    </dgm:pt>
    <dgm:pt modelId="{B9341721-19B7-4DB6-B221-13DD187C331A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казание государственных услуг по выдаче разрешений на добычу охотничьих ресурсов и выдаче охотничьих билетов</a:t>
          </a:r>
        </a:p>
      </dgm:t>
    </dgm:pt>
    <dgm:pt modelId="{A8729AEE-4399-4EAC-AB32-EEFAF88F31D3}" type="parTrans" cxnId="{683C7F7A-948B-458C-BE36-2300B860DF91}">
      <dgm:prSet/>
      <dgm:spPr/>
      <dgm:t>
        <a:bodyPr/>
        <a:lstStyle/>
        <a:p>
          <a:endParaRPr lang="ru-RU"/>
        </a:p>
      </dgm:t>
    </dgm:pt>
    <dgm:pt modelId="{BD867190-ADC0-4612-80B2-309E8ACCDC32}" type="sibTrans" cxnId="{683C7F7A-948B-458C-BE36-2300B860DF91}">
      <dgm:prSet/>
      <dgm:spPr/>
      <dgm:t>
        <a:bodyPr/>
        <a:lstStyle/>
        <a:p>
          <a:endParaRPr lang="ru-RU"/>
        </a:p>
      </dgm:t>
    </dgm:pt>
    <dgm:pt modelId="{F034CB9A-A112-433A-ACEC-E2AAC2A7C83E}">
      <dgm:prSet custT="1"/>
      <dgm:spPr/>
      <dgm:t>
        <a:bodyPr/>
        <a:lstStyle/>
        <a:p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9A92D4-24C8-43B2-A714-272512ACB442}" type="parTrans" cxnId="{37B6BB1F-BE7B-4862-8305-B586DEFEE933}">
      <dgm:prSet/>
      <dgm:spPr/>
      <dgm:t>
        <a:bodyPr/>
        <a:lstStyle/>
        <a:p>
          <a:endParaRPr lang="ru-RU"/>
        </a:p>
      </dgm:t>
    </dgm:pt>
    <dgm:pt modelId="{0C605735-BA10-46AC-B559-C5E91300F59A}" type="sibTrans" cxnId="{37B6BB1F-BE7B-4862-8305-B586DEFEE933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EA500FF-3106-4856-8539-66981F40ECB2}" type="presOf" srcId="{40E4D91A-36C3-44D0-AFE9-0DDC1DC3FF2E}" destId="{054E0B3D-A8D3-46C8-8CC8-57479A6700D3}" srcOrd="0" destOrd="1" presId="urn:microsoft.com/office/officeart/2005/8/layout/chevron2"/>
    <dgm:cxn modelId="{0721D2AD-8FB3-47DA-96AB-E939FAFC220B}" type="presOf" srcId="{D411A21B-1094-4E74-9F1B-CF6C6E2B675E}" destId="{CEB1617E-7ABE-4EBF-B914-C8E149BFD968}" srcOrd="0" destOrd="0" presId="urn:microsoft.com/office/officeart/2005/8/layout/chevron2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8724B663-0BFC-458E-A1AA-967856045455}" type="presOf" srcId="{E3706F63-DF17-4BD8-927D-B1F08C8D7A49}" destId="{BA1055A7-1216-4086-83B6-4D1BE3CE8907}" srcOrd="0" destOrd="3" presId="urn:microsoft.com/office/officeart/2005/8/layout/chevron2"/>
    <dgm:cxn modelId="{FE8B4C80-3947-45EA-A23C-0977BEB03DE6}" type="presOf" srcId="{DEA64100-CF05-47A1-B324-B7A5DDB36E93}" destId="{29C5F787-6539-40B8-B7D2-7E50296FD528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683C7F7A-948B-458C-BE36-2300B860DF91}" srcId="{E8C4C2EF-81D2-4B22-8A1D-88D0C558CD53}" destId="{B9341721-19B7-4DB6-B221-13DD187C331A}" srcOrd="2" destOrd="0" parTransId="{A8729AEE-4399-4EAC-AB32-EEFAF88F31D3}" sibTransId="{BD867190-ADC0-4612-80B2-309E8ACCDC32}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F6D87DF7-D0A8-466E-8C23-5DB29FD46440}" srcId="{E8C4C2EF-81D2-4B22-8A1D-88D0C558CD53}" destId="{736E1FA7-940E-4AC0-A1E4-65703C51B846}" srcOrd="4" destOrd="0" parTransId="{B028EAF6-A5FF-46E4-A80C-2BA3CC4D3102}" sibTransId="{BB295063-49D2-465C-82CD-71332A429214}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96AF1DBA-BB1D-49F9-9449-DF47F8282F23}" srcId="{18728B41-1962-40FC-B86A-9356146B5A68}" destId="{1EC795F3-0A48-49A6-8B04-885F3EB61E45}" srcOrd="1" destOrd="0" parTransId="{CDC15DBC-F163-4D28-832F-873CC4DEB86D}" sibTransId="{50A7CE43-3758-417C-AA11-E43E2D2FEFF0}"/>
    <dgm:cxn modelId="{2885CBA8-230E-462A-8474-2C9BC4F1077F}" type="presOf" srcId="{58CB288E-F9F4-4BB8-9851-2A6C7C3578F4}" destId="{4BC5D174-82E1-455A-8266-2EF651317590}" srcOrd="0" destOrd="0" presId="urn:microsoft.com/office/officeart/2005/8/layout/chevron2"/>
    <dgm:cxn modelId="{C1E64587-56E3-4B63-A75E-1934DF50AFEB}" type="presOf" srcId="{1ABDF41F-8084-474E-8ACB-67C32FF2A1EF}" destId="{054E0B3D-A8D3-46C8-8CC8-57479A6700D3}" srcOrd="0" destOrd="0" presId="urn:microsoft.com/office/officeart/2005/8/layout/chevron2"/>
    <dgm:cxn modelId="{0D742475-1474-4D7A-A677-4FFD0B33C24D}" type="presOf" srcId="{B9341721-19B7-4DB6-B221-13DD187C331A}" destId="{054E0B3D-A8D3-46C8-8CC8-57479A6700D3}" srcOrd="0" destOrd="2" presId="urn:microsoft.com/office/officeart/2005/8/layout/chevron2"/>
    <dgm:cxn modelId="{14108628-7B53-42B5-8C1E-745065F6BA23}" srcId="{DEA64100-CF05-47A1-B324-B7A5DDB36E93}" destId="{9DE67515-AAD3-4572-A14A-883CF450B503}" srcOrd="3" destOrd="0" parTransId="{0C70D8C8-C372-481C-A2C5-0155F1B26106}" sibTransId="{111DD224-21B2-4834-8684-D109BDA0C007}"/>
    <dgm:cxn modelId="{3045CDEF-E691-4A02-A408-E932185DC09E}" type="presOf" srcId="{E8C4C2EF-81D2-4B22-8A1D-88D0C558CD53}" destId="{302FC55C-58A2-4FF3-96AC-10CFA0052481}" srcOrd="0" destOrd="0" presId="urn:microsoft.com/office/officeart/2005/8/layout/chevron2"/>
    <dgm:cxn modelId="{E87AD103-E9BA-40CB-8984-7D24D0C971E1}" type="presOf" srcId="{FAAC2564-89BA-498A-AA50-C515F1329566}" destId="{4BC5D174-82E1-455A-8266-2EF651317590}" srcOrd="0" destOrd="2" presId="urn:microsoft.com/office/officeart/2005/8/layout/chevron2"/>
    <dgm:cxn modelId="{B9B05F2D-DF0E-4CA7-AB76-3FAD12BB7A7F}" type="presOf" srcId="{900867A5-71F0-4050-9D17-1319479DD264}" destId="{4BC5D174-82E1-455A-8266-2EF651317590}" srcOrd="0" destOrd="1" presId="urn:microsoft.com/office/officeart/2005/8/layout/chevron2"/>
    <dgm:cxn modelId="{4CD07422-A65C-4D05-802F-FA959FB8D5ED}" type="presOf" srcId="{8DFE9A99-6F26-4ADF-B2BC-46C29F7BAEC5}" destId="{BA1055A7-1216-4086-83B6-4D1BE3CE8907}" srcOrd="0" destOrd="2" presId="urn:microsoft.com/office/officeart/2005/8/layout/chevron2"/>
    <dgm:cxn modelId="{BBC7F73B-CDCC-4FCB-B1ED-45187CC5A850}" type="presOf" srcId="{9DE67515-AAD3-4572-A14A-883CF450B503}" destId="{4BC5D174-82E1-455A-8266-2EF651317590}" srcOrd="0" destOrd="3" presId="urn:microsoft.com/office/officeart/2005/8/layout/chevron2"/>
    <dgm:cxn modelId="{BE71DEFA-DC2B-415C-890D-B9C24F121C17}" srcId="{E8C4C2EF-81D2-4B22-8A1D-88D0C558CD53}" destId="{40E4D91A-36C3-44D0-AFE9-0DDC1DC3FF2E}" srcOrd="1" destOrd="0" parTransId="{C0175123-B7C2-4E13-8B02-3F63788A7EAA}" sibTransId="{05208B20-7D8F-4A98-9A67-62119724751A}"/>
    <dgm:cxn modelId="{6402A2C7-86E6-4136-9B89-D721E4E015FE}" srcId="{18728B41-1962-40FC-B86A-9356146B5A68}" destId="{8DFE9A99-6F26-4ADF-B2BC-46C29F7BAEC5}" srcOrd="2" destOrd="0" parTransId="{A046F124-9DDC-4EA3-9F1D-84A7AAD8CFFD}" sibTransId="{D7A6F28C-E70A-4F50-B4A2-0820A5F4B1BE}"/>
    <dgm:cxn modelId="{0ADC4D9E-BE6C-4EFD-92D4-CE1AD2CE7ED2}" srcId="{18728B41-1962-40FC-B86A-9356146B5A68}" destId="{E3706F63-DF17-4BD8-927D-B1F08C8D7A49}" srcOrd="3" destOrd="0" parTransId="{8D945157-8BA6-4B73-911D-0CB212175CAD}" sibTransId="{3C6A795B-F1D6-4633-BDEF-B85AD721A09B}"/>
    <dgm:cxn modelId="{37B6BB1F-BE7B-4862-8305-B586DEFEE933}" srcId="{E8C4C2EF-81D2-4B22-8A1D-88D0C558CD53}" destId="{F034CB9A-A112-433A-ACEC-E2AAC2A7C83E}" srcOrd="3" destOrd="0" parTransId="{719A92D4-24C8-43B2-A714-272512ACB442}" sibTransId="{0C605735-BA10-46AC-B559-C5E91300F59A}"/>
    <dgm:cxn modelId="{7DF9E699-DD72-4D6E-9CD0-7E52F5AF202F}" type="presOf" srcId="{736E1FA7-940E-4AC0-A1E4-65703C51B846}" destId="{054E0B3D-A8D3-46C8-8CC8-57479A6700D3}" srcOrd="0" destOrd="4" presId="urn:microsoft.com/office/officeart/2005/8/layout/chevron2"/>
    <dgm:cxn modelId="{49306922-7435-4841-B720-1E2ECE685474}" type="presOf" srcId="{A2D40B80-A2E8-49E7-8480-DF0AD1F27530}" destId="{BA1055A7-1216-4086-83B6-4D1BE3CE8907}" srcOrd="0" destOrd="0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295FC39E-3685-48F4-B26A-2A7C0BC64903}" type="presOf" srcId="{F034CB9A-A112-433A-ACEC-E2AAC2A7C83E}" destId="{054E0B3D-A8D3-46C8-8CC8-57479A6700D3}" srcOrd="0" destOrd="3" presId="urn:microsoft.com/office/officeart/2005/8/layout/chevron2"/>
    <dgm:cxn modelId="{6B17625C-86B6-4F8E-B4AB-2F1EE536E8B6}" type="presOf" srcId="{18728B41-1962-40FC-B86A-9356146B5A68}" destId="{B3C1D9A3-46B4-4E40-BD14-497C0DCDB4DC}" srcOrd="0" destOrd="0" presId="urn:microsoft.com/office/officeart/2005/8/layout/chevron2"/>
    <dgm:cxn modelId="{9B83897D-90EA-43DC-AFA6-D2158597017B}" srcId="{DEA64100-CF05-47A1-B324-B7A5DDB36E93}" destId="{900867A5-71F0-4050-9D17-1319479DD264}" srcOrd="1" destOrd="0" parTransId="{689F5188-E580-4FBE-B4DD-296E6A86D589}" sibTransId="{ADB9ED0D-E150-4C4C-94BF-2B57FEAB2FEF}"/>
    <dgm:cxn modelId="{2AB118BD-91C7-4A5F-AC15-5DA8D1E452CA}" type="presOf" srcId="{1EC795F3-0A48-49A6-8B04-885F3EB61E45}" destId="{BA1055A7-1216-4086-83B6-4D1BE3CE8907}" srcOrd="0" destOrd="1" presId="urn:microsoft.com/office/officeart/2005/8/layout/chevron2"/>
    <dgm:cxn modelId="{2058CC8A-CBA0-4151-BC77-9CC5F30E0764}" srcId="{DEA64100-CF05-47A1-B324-B7A5DDB36E93}" destId="{FAAC2564-89BA-498A-AA50-C515F1329566}" srcOrd="2" destOrd="0" parTransId="{97CEBC77-D396-401A-8AB4-A000D4E1E6AE}" sibTransId="{50709953-C41D-4317-8129-F0AA93923264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165E9792-3516-473B-BB79-8E092F3D789D}" type="presParOf" srcId="{CEB1617E-7ABE-4EBF-B914-C8E149BFD968}" destId="{85B13D13-17B0-48B9-8B0B-E25A451A0D88}" srcOrd="0" destOrd="0" presId="urn:microsoft.com/office/officeart/2005/8/layout/chevron2"/>
    <dgm:cxn modelId="{9B1B8350-9AF4-4BA7-9224-734AA0FC2297}" type="presParOf" srcId="{85B13D13-17B0-48B9-8B0B-E25A451A0D88}" destId="{29C5F787-6539-40B8-B7D2-7E50296FD528}" srcOrd="0" destOrd="0" presId="urn:microsoft.com/office/officeart/2005/8/layout/chevron2"/>
    <dgm:cxn modelId="{F1F5E82B-054F-4019-907D-5011CB6B28C3}" type="presParOf" srcId="{85B13D13-17B0-48B9-8B0B-E25A451A0D88}" destId="{4BC5D174-82E1-455A-8266-2EF651317590}" srcOrd="1" destOrd="0" presId="urn:microsoft.com/office/officeart/2005/8/layout/chevron2"/>
    <dgm:cxn modelId="{1D603713-7FF5-4CBA-A6D4-23EFA7E87EA5}" type="presParOf" srcId="{CEB1617E-7ABE-4EBF-B914-C8E149BFD968}" destId="{F4A068E8-600F-46D8-82E3-B7B2E8ED51B3}" srcOrd="1" destOrd="0" presId="urn:microsoft.com/office/officeart/2005/8/layout/chevron2"/>
    <dgm:cxn modelId="{37F272FD-5196-4AD5-A898-E5DA6F973B07}" type="presParOf" srcId="{CEB1617E-7ABE-4EBF-B914-C8E149BFD968}" destId="{90FA17FB-56EA-4A20-A631-3E2625120CA1}" srcOrd="2" destOrd="0" presId="urn:microsoft.com/office/officeart/2005/8/layout/chevron2"/>
    <dgm:cxn modelId="{C442C6D9-DE87-4861-A3F7-10D5EEEBEF62}" type="presParOf" srcId="{90FA17FB-56EA-4A20-A631-3E2625120CA1}" destId="{B3C1D9A3-46B4-4E40-BD14-497C0DCDB4DC}" srcOrd="0" destOrd="0" presId="urn:microsoft.com/office/officeart/2005/8/layout/chevron2"/>
    <dgm:cxn modelId="{9A884B41-CFBE-4C83-8683-4A7C46FF88AB}" type="presParOf" srcId="{90FA17FB-56EA-4A20-A631-3E2625120CA1}" destId="{BA1055A7-1216-4086-83B6-4D1BE3CE8907}" srcOrd="1" destOrd="0" presId="urn:microsoft.com/office/officeart/2005/8/layout/chevron2"/>
    <dgm:cxn modelId="{632F8B10-74C2-42B8-8A05-5D7087AEAAF1}" type="presParOf" srcId="{CEB1617E-7ABE-4EBF-B914-C8E149BFD968}" destId="{6ACCA3A6-7906-4632-B4CE-95157EE0E867}" srcOrd="3" destOrd="0" presId="urn:microsoft.com/office/officeart/2005/8/layout/chevron2"/>
    <dgm:cxn modelId="{BDD8CF6B-F007-4DC4-A661-6E8E52E5604A}" type="presParOf" srcId="{CEB1617E-7ABE-4EBF-B914-C8E149BFD968}" destId="{A26BA277-20E8-46F6-83B8-E92FFAE0EF5A}" srcOrd="4" destOrd="0" presId="urn:microsoft.com/office/officeart/2005/8/layout/chevron2"/>
    <dgm:cxn modelId="{BE5BCDA4-F39B-4488-B6AE-11DFB1BE0C05}" type="presParOf" srcId="{A26BA277-20E8-46F6-83B8-E92FFAE0EF5A}" destId="{302FC55C-58A2-4FF3-96AC-10CFA0052481}" srcOrd="0" destOrd="0" presId="urn:microsoft.com/office/officeart/2005/8/layout/chevron2"/>
    <dgm:cxn modelId="{A636B55E-89DF-4D3B-8A82-B813FE705D79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r>
            <a:rPr lang="ru-RU" sz="1800" b="1" dirty="0" smtClean="0">
              <a:latin typeface="+mn-lt"/>
            </a:rPr>
            <a:t>крайне низкое материально-техническое обеспечение: износ автотранспорта составляет 100%. Необходимо выделение 31 ед. автотранспорта . При этом потребность в финансировании  составляет 22,3 </a:t>
          </a:r>
          <a:r>
            <a:rPr lang="ru-RU" sz="1800" b="1" dirty="0" err="1" smtClean="0">
              <a:latin typeface="+mn-lt"/>
            </a:rPr>
            <a:t>млн.руб</a:t>
          </a:r>
          <a:r>
            <a:rPr lang="ru-RU" sz="1800" b="1" dirty="0" smtClean="0">
              <a:latin typeface="+mn-lt"/>
            </a:rPr>
            <a:t>. </a:t>
          </a:r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9DE67515-AAD3-4572-A14A-883CF450B503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70D8C8-C372-481C-A2C5-0155F1B26106}" type="parTrans" cxnId="{14108628-7B53-42B5-8C1E-745065F6BA23}">
      <dgm:prSet/>
      <dgm:spPr/>
      <dgm:t>
        <a:bodyPr/>
        <a:lstStyle/>
        <a:p>
          <a:endParaRPr lang="ru-RU"/>
        </a:p>
      </dgm:t>
    </dgm:pt>
    <dgm:pt modelId="{111DD224-21B2-4834-8684-D109BDA0C007}" type="sibTrans" cxnId="{14108628-7B53-42B5-8C1E-745065F6BA23}">
      <dgm:prSet/>
      <dgm:spPr/>
      <dgm:t>
        <a:bodyPr/>
        <a:lstStyle/>
        <a:p>
          <a:endParaRPr lang="ru-RU"/>
        </a:p>
      </dgm:t>
    </dgm:pt>
    <dgm:pt modelId="{4DDC576B-558E-4409-A9C6-A35D4A522E80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недостаточное финансирование на реализацию полномочий, переданных Российской Федерацией: в 2021 году выделено за счет средств федерального бюджета  25,3 млн. руб., за счет краевого бюджета – 6,2 млн. руб. Потребность составляет 177,1 млн. руб.</a:t>
          </a:r>
        </a:p>
      </dgm:t>
    </dgm:pt>
    <dgm:pt modelId="{3D855B19-80D7-4929-BC62-24EAB43E5A35}" type="parTrans" cxnId="{FA359CCA-DF02-44C8-9D5B-D200F68B17BB}">
      <dgm:prSet/>
      <dgm:spPr/>
      <dgm:t>
        <a:bodyPr/>
        <a:lstStyle/>
        <a:p>
          <a:endParaRPr lang="ru-RU"/>
        </a:p>
      </dgm:t>
    </dgm:pt>
    <dgm:pt modelId="{14B0CCAA-63E0-476D-A653-93D1049AEE56}" type="sibTrans" cxnId="{FA359CCA-DF02-44C8-9D5B-D200F68B17BB}">
      <dgm:prSet/>
      <dgm:spPr/>
      <dgm:t>
        <a:bodyPr/>
        <a:lstStyle/>
        <a:p>
          <a:endParaRPr lang="ru-RU"/>
        </a:p>
      </dgm:t>
    </dgm:pt>
    <dgm:pt modelId="{21D2638F-3C58-4206-96A4-61C8BF560BA9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0A1801-0D3A-4D66-BEF7-E54EAC27E166}" type="parTrans" cxnId="{2A8264B5-206A-43C9-B799-7EBC447A3854}">
      <dgm:prSet/>
      <dgm:spPr/>
      <dgm:t>
        <a:bodyPr/>
        <a:lstStyle/>
        <a:p>
          <a:endParaRPr lang="ru-RU"/>
        </a:p>
      </dgm:t>
    </dgm:pt>
    <dgm:pt modelId="{990F056B-5302-43F4-AEAE-42DB9F4FA500}" type="sibTrans" cxnId="{2A8264B5-206A-43C9-B799-7EBC447A3854}">
      <dgm:prSet/>
      <dgm:spPr/>
      <dgm:t>
        <a:bodyPr/>
        <a:lstStyle/>
        <a:p>
          <a:endParaRPr lang="ru-RU"/>
        </a:p>
      </dgm:t>
    </dgm:pt>
    <dgm:pt modelId="{5956FE5D-3335-4879-9DFC-1C4F8BE8C037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недостаточная штатная численность специалистов в районах края: имеется  45 человек, содержащихся  за счет федерального бюджета и 19 - за счет средств бюджета края. Потребность составляет  115 штатных единиц </a:t>
          </a:r>
        </a:p>
      </dgm:t>
    </dgm:pt>
    <dgm:pt modelId="{6CE07848-37A6-4ED8-9077-AD12486EE4D7}" type="parTrans" cxnId="{2899D788-7241-400D-BD61-3F8C399AF590}">
      <dgm:prSet/>
      <dgm:spPr/>
      <dgm:t>
        <a:bodyPr/>
        <a:lstStyle/>
        <a:p>
          <a:endParaRPr lang="ru-RU"/>
        </a:p>
      </dgm:t>
    </dgm:pt>
    <dgm:pt modelId="{71BA54B0-0C06-4E5D-BE3D-4C49CE070712}" type="sibTrans" cxnId="{2899D788-7241-400D-BD61-3F8C399AF590}">
      <dgm:prSet/>
      <dgm:spPr/>
      <dgm:t>
        <a:bodyPr/>
        <a:lstStyle/>
        <a:p>
          <a:endParaRPr lang="ru-RU"/>
        </a:p>
      </dgm:t>
    </dgm:pt>
    <dgm:pt modelId="{A19DD952-7AF2-43FB-8C71-741C6A8EDD1A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62234C-39E6-45FB-A771-12E6A83C3410}" type="parTrans" cxnId="{40BFD8D0-88DF-41FE-AE16-2ABF5317767E}">
      <dgm:prSet/>
      <dgm:spPr/>
      <dgm:t>
        <a:bodyPr/>
        <a:lstStyle/>
        <a:p>
          <a:endParaRPr lang="ru-RU"/>
        </a:p>
      </dgm:t>
    </dgm:pt>
    <dgm:pt modelId="{4FEDA9C8-B46E-4B48-A040-7D61DE989F95}" type="sibTrans" cxnId="{40BFD8D0-88DF-41FE-AE16-2ABF5317767E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F72D1D7-BB5C-437A-9EEF-BBCF5DD317A3}" type="presOf" srcId="{DEA64100-CF05-47A1-B324-B7A5DDB36E93}" destId="{29C5F787-6539-40B8-B7D2-7E50296FD528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568C43B7-DF68-4BDF-8C2C-F3A2F634E5E6}" type="presOf" srcId="{A2D40B80-A2E8-49E7-8480-DF0AD1F27530}" destId="{BA1055A7-1216-4086-83B6-4D1BE3CE8907}" srcOrd="0" destOrd="0" presId="urn:microsoft.com/office/officeart/2005/8/layout/chevron2"/>
    <dgm:cxn modelId="{BEED2060-D33B-4242-9F24-7F3FBE276A12}" type="presOf" srcId="{4DDC576B-558E-4409-A9C6-A35D4A522E80}" destId="{4BC5D174-82E1-455A-8266-2EF651317590}" srcOrd="0" destOrd="1" presId="urn:microsoft.com/office/officeart/2005/8/layout/chevron2"/>
    <dgm:cxn modelId="{0DC3B87B-5CFE-485F-B5B2-6D0835241C65}" type="presOf" srcId="{5956FE5D-3335-4879-9DFC-1C4F8BE8C037}" destId="{BA1055A7-1216-4086-83B6-4D1BE3CE8907}" srcOrd="0" destOrd="1" presId="urn:microsoft.com/office/officeart/2005/8/layout/chevron2"/>
    <dgm:cxn modelId="{6F39FB8B-B6FB-4749-AB54-4C57878DC2F5}" type="presOf" srcId="{9DE67515-AAD3-4572-A14A-883CF450B503}" destId="{4BC5D174-82E1-455A-8266-2EF651317590}" srcOrd="0" destOrd="3" presId="urn:microsoft.com/office/officeart/2005/8/layout/chevron2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14108628-7B53-42B5-8C1E-745065F6BA23}" srcId="{DEA64100-CF05-47A1-B324-B7A5DDB36E93}" destId="{9DE67515-AAD3-4572-A14A-883CF450B503}" srcOrd="3" destOrd="0" parTransId="{0C70D8C8-C372-481C-A2C5-0155F1B26106}" sibTransId="{111DD224-21B2-4834-8684-D109BDA0C007}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2A8264B5-206A-43C9-B799-7EBC447A3854}" srcId="{DEA64100-CF05-47A1-B324-B7A5DDB36E93}" destId="{21D2638F-3C58-4206-96A4-61C8BF560BA9}" srcOrd="2" destOrd="0" parTransId="{7D0A1801-0D3A-4D66-BEF7-E54EAC27E166}" sibTransId="{990F056B-5302-43F4-AEAE-42DB9F4FA500}"/>
    <dgm:cxn modelId="{FD2E2650-3265-4F4B-B319-E425A0D47672}" type="presOf" srcId="{58CB288E-F9F4-4BB8-9851-2A6C7C3578F4}" destId="{4BC5D174-82E1-455A-8266-2EF651317590}" srcOrd="0" destOrd="0" presId="urn:microsoft.com/office/officeart/2005/8/layout/chevron2"/>
    <dgm:cxn modelId="{D2F75B9D-5883-4E2F-92ED-0DAAC0CCC4B3}" type="presOf" srcId="{18728B41-1962-40FC-B86A-9356146B5A68}" destId="{B3C1D9A3-46B4-4E40-BD14-497C0DCDB4DC}" srcOrd="0" destOrd="0" presId="urn:microsoft.com/office/officeart/2005/8/layout/chevron2"/>
    <dgm:cxn modelId="{D8D4E4AE-8F98-4C26-A5EF-289C6FFD1FB3}" type="presOf" srcId="{1ABDF41F-8084-474E-8ACB-67C32FF2A1EF}" destId="{054E0B3D-A8D3-46C8-8CC8-57479A6700D3}" srcOrd="0" destOrd="0" presId="urn:microsoft.com/office/officeart/2005/8/layout/chevron2"/>
    <dgm:cxn modelId="{D52247EC-FF02-4E21-A71C-F9DF41D8E9DB}" type="presOf" srcId="{D411A21B-1094-4E74-9F1B-CF6C6E2B675E}" destId="{CEB1617E-7ABE-4EBF-B914-C8E149BFD968}" srcOrd="0" destOrd="0" presId="urn:microsoft.com/office/officeart/2005/8/layout/chevron2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FA359CCA-DF02-44C8-9D5B-D200F68B17BB}" srcId="{DEA64100-CF05-47A1-B324-B7A5DDB36E93}" destId="{4DDC576B-558E-4409-A9C6-A35D4A522E80}" srcOrd="1" destOrd="0" parTransId="{3D855B19-80D7-4929-BC62-24EAB43E5A35}" sibTransId="{14B0CCAA-63E0-476D-A653-93D1049AEE56}"/>
    <dgm:cxn modelId="{92B56D91-FC1A-4226-A51F-3E00660F66DA}" type="presOf" srcId="{21D2638F-3C58-4206-96A4-61C8BF560BA9}" destId="{4BC5D174-82E1-455A-8266-2EF651317590}" srcOrd="0" destOrd="2" presId="urn:microsoft.com/office/officeart/2005/8/layout/chevron2"/>
    <dgm:cxn modelId="{2899D788-7241-400D-BD61-3F8C399AF590}" srcId="{18728B41-1962-40FC-B86A-9356146B5A68}" destId="{5956FE5D-3335-4879-9DFC-1C4F8BE8C037}" srcOrd="1" destOrd="0" parTransId="{6CE07848-37A6-4ED8-9077-AD12486EE4D7}" sibTransId="{71BA54B0-0C06-4E5D-BE3D-4C49CE070712}"/>
    <dgm:cxn modelId="{21D82B60-BFE7-4643-8946-CA02FBFB0DEE}" type="presOf" srcId="{E8C4C2EF-81D2-4B22-8A1D-88D0C558CD53}" destId="{302FC55C-58A2-4FF3-96AC-10CFA0052481}" srcOrd="0" destOrd="0" presId="urn:microsoft.com/office/officeart/2005/8/layout/chevron2"/>
    <dgm:cxn modelId="{131C5D70-B07C-41C6-B1D3-C99AE719CC4E}" type="presOf" srcId="{A19DD952-7AF2-43FB-8C71-741C6A8EDD1A}" destId="{BA1055A7-1216-4086-83B6-4D1BE3CE8907}" srcOrd="0" destOrd="2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40BFD8D0-88DF-41FE-AE16-2ABF5317767E}" srcId="{18728B41-1962-40FC-B86A-9356146B5A68}" destId="{A19DD952-7AF2-43FB-8C71-741C6A8EDD1A}" srcOrd="2" destOrd="0" parTransId="{2E62234C-39E6-45FB-A771-12E6A83C3410}" sibTransId="{4FEDA9C8-B46E-4B48-A040-7D61DE989F95}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51359B2A-A3F2-41E0-AFD7-DBAA3F91FBA5}" type="presParOf" srcId="{CEB1617E-7ABE-4EBF-B914-C8E149BFD968}" destId="{85B13D13-17B0-48B9-8B0B-E25A451A0D88}" srcOrd="0" destOrd="0" presId="urn:microsoft.com/office/officeart/2005/8/layout/chevron2"/>
    <dgm:cxn modelId="{CA18EF6A-4426-4631-B94E-0E9E51A5E2AC}" type="presParOf" srcId="{85B13D13-17B0-48B9-8B0B-E25A451A0D88}" destId="{29C5F787-6539-40B8-B7D2-7E50296FD528}" srcOrd="0" destOrd="0" presId="urn:microsoft.com/office/officeart/2005/8/layout/chevron2"/>
    <dgm:cxn modelId="{6FE3C311-9960-469F-B07A-EC11453D88E0}" type="presParOf" srcId="{85B13D13-17B0-48B9-8B0B-E25A451A0D88}" destId="{4BC5D174-82E1-455A-8266-2EF651317590}" srcOrd="1" destOrd="0" presId="urn:microsoft.com/office/officeart/2005/8/layout/chevron2"/>
    <dgm:cxn modelId="{12FBDEF3-FACD-4E25-9B4B-E57F87ED9F14}" type="presParOf" srcId="{CEB1617E-7ABE-4EBF-B914-C8E149BFD968}" destId="{F4A068E8-600F-46D8-82E3-B7B2E8ED51B3}" srcOrd="1" destOrd="0" presId="urn:microsoft.com/office/officeart/2005/8/layout/chevron2"/>
    <dgm:cxn modelId="{9FEF2E52-3003-4370-9A96-58C1108EE600}" type="presParOf" srcId="{CEB1617E-7ABE-4EBF-B914-C8E149BFD968}" destId="{90FA17FB-56EA-4A20-A631-3E2625120CA1}" srcOrd="2" destOrd="0" presId="urn:microsoft.com/office/officeart/2005/8/layout/chevron2"/>
    <dgm:cxn modelId="{991FBF0E-9A1E-48F8-B448-CD9801B510A8}" type="presParOf" srcId="{90FA17FB-56EA-4A20-A631-3E2625120CA1}" destId="{B3C1D9A3-46B4-4E40-BD14-497C0DCDB4DC}" srcOrd="0" destOrd="0" presId="urn:microsoft.com/office/officeart/2005/8/layout/chevron2"/>
    <dgm:cxn modelId="{3594D1CD-EDFE-497A-94CB-8520FAE4141E}" type="presParOf" srcId="{90FA17FB-56EA-4A20-A631-3E2625120CA1}" destId="{BA1055A7-1216-4086-83B6-4D1BE3CE8907}" srcOrd="1" destOrd="0" presId="urn:microsoft.com/office/officeart/2005/8/layout/chevron2"/>
    <dgm:cxn modelId="{09D8354E-D7D2-4D3B-9065-9C9022D23407}" type="presParOf" srcId="{CEB1617E-7ABE-4EBF-B914-C8E149BFD968}" destId="{6ACCA3A6-7906-4632-B4CE-95157EE0E867}" srcOrd="3" destOrd="0" presId="urn:microsoft.com/office/officeart/2005/8/layout/chevron2"/>
    <dgm:cxn modelId="{2370E975-1561-4927-AADB-DFBD8E79514B}" type="presParOf" srcId="{CEB1617E-7ABE-4EBF-B914-C8E149BFD968}" destId="{A26BA277-20E8-46F6-83B8-E92FFAE0EF5A}" srcOrd="4" destOrd="0" presId="urn:microsoft.com/office/officeart/2005/8/layout/chevron2"/>
    <dgm:cxn modelId="{C3A80F1E-6651-4063-9807-3BD9F1349E4A}" type="presParOf" srcId="{A26BA277-20E8-46F6-83B8-E92FFAE0EF5A}" destId="{302FC55C-58A2-4FF3-96AC-10CFA0052481}" srcOrd="0" destOrd="0" presId="urn:microsoft.com/office/officeart/2005/8/layout/chevron2"/>
    <dgm:cxn modelId="{297B585A-4B7C-4A2F-9DAB-B3A927DF9E67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endParaRPr lang="ru-RU" sz="16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9DE67515-AAD3-4572-A14A-883CF450B503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70D8C8-C372-481C-A2C5-0155F1B26106}" type="parTrans" cxnId="{14108628-7B53-42B5-8C1E-745065F6BA23}">
      <dgm:prSet/>
      <dgm:spPr/>
      <dgm:t>
        <a:bodyPr/>
        <a:lstStyle/>
        <a:p>
          <a:endParaRPr lang="ru-RU"/>
        </a:p>
      </dgm:t>
    </dgm:pt>
    <dgm:pt modelId="{111DD224-21B2-4834-8684-D109BDA0C007}" type="sibTrans" cxnId="{14108628-7B53-42B5-8C1E-745065F6BA23}">
      <dgm:prSet/>
      <dgm:spPr/>
      <dgm:t>
        <a:bodyPr/>
        <a:lstStyle/>
        <a:p>
          <a:endParaRPr lang="ru-RU"/>
        </a:p>
      </dgm:t>
    </dgm:pt>
    <dgm:pt modelId="{A19DD952-7AF2-43FB-8C71-741C6A8EDD1A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62234C-39E6-45FB-A771-12E6A83C3410}" type="parTrans" cxnId="{40BFD8D0-88DF-41FE-AE16-2ABF5317767E}">
      <dgm:prSet/>
      <dgm:spPr/>
      <dgm:t>
        <a:bodyPr/>
        <a:lstStyle/>
        <a:p>
          <a:endParaRPr lang="ru-RU"/>
        </a:p>
      </dgm:t>
    </dgm:pt>
    <dgm:pt modelId="{4FEDA9C8-B46E-4B48-A040-7D61DE989F95}" type="sibTrans" cxnId="{40BFD8D0-88DF-41FE-AE16-2ABF5317767E}">
      <dgm:prSet/>
      <dgm:spPr/>
      <dgm:t>
        <a:bodyPr/>
        <a:lstStyle/>
        <a:p>
          <a:endParaRPr lang="ru-RU"/>
        </a:p>
      </dgm:t>
    </dgm:pt>
    <dgm:pt modelId="{E64823D9-24AE-431A-AD70-E6E1A18EBBAA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Повышение эффективности государственного охотничьего надзора</a:t>
          </a:r>
        </a:p>
      </dgm:t>
    </dgm:pt>
    <dgm:pt modelId="{0D3F1FE1-0F9B-41FD-87C0-24D351E39B3F}" type="parTrans" cxnId="{5F655974-E4BD-418C-9F64-919C5197E860}">
      <dgm:prSet/>
      <dgm:spPr/>
      <dgm:t>
        <a:bodyPr/>
        <a:lstStyle/>
        <a:p>
          <a:endParaRPr lang="ru-RU"/>
        </a:p>
      </dgm:t>
    </dgm:pt>
    <dgm:pt modelId="{01432303-BE5B-4961-BD29-F231ACF62C15}" type="sibTrans" cxnId="{5F655974-E4BD-418C-9F64-919C5197E860}">
      <dgm:prSet/>
      <dgm:spPr/>
      <dgm:t>
        <a:bodyPr/>
        <a:lstStyle/>
        <a:p>
          <a:endParaRPr lang="ru-RU"/>
        </a:p>
      </dgm:t>
    </dgm:pt>
    <dgm:pt modelId="{43C0D5F2-D2B9-4579-BB7F-5C7D473459F0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B67738F-2269-4324-AFB3-3CF69D356C4C}" type="parTrans" cxnId="{FF3574D7-F0F7-4786-B03A-0BEFCF24D672}">
      <dgm:prSet/>
      <dgm:spPr/>
      <dgm:t>
        <a:bodyPr/>
        <a:lstStyle/>
        <a:p>
          <a:endParaRPr lang="ru-RU"/>
        </a:p>
      </dgm:t>
    </dgm:pt>
    <dgm:pt modelId="{67570E7A-BB7B-43C8-AB49-20F8647DB0CB}" type="sibTrans" cxnId="{FF3574D7-F0F7-4786-B03A-0BEFCF24D672}">
      <dgm:prSet/>
      <dgm:spPr/>
      <dgm:t>
        <a:bodyPr/>
        <a:lstStyle/>
        <a:p>
          <a:endParaRPr lang="ru-RU"/>
        </a:p>
      </dgm:t>
    </dgm:pt>
    <dgm:pt modelId="{2F1743FF-F80D-4A6A-82A2-4658802A24D9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Увеличение доли площади закрепленных  охотугодий к общей площади охотугодий путем проведения аукционов на право заключения охотхозяйственных соглашений</a:t>
          </a:r>
        </a:p>
      </dgm:t>
    </dgm:pt>
    <dgm:pt modelId="{3130AA92-67DA-4D45-94CB-3BE4DBB2E5AB}" type="parTrans" cxnId="{A67AA2D5-CFD3-4269-AA06-B40FCCBFB629}">
      <dgm:prSet/>
      <dgm:spPr/>
      <dgm:t>
        <a:bodyPr/>
        <a:lstStyle/>
        <a:p>
          <a:endParaRPr lang="ru-RU"/>
        </a:p>
      </dgm:t>
    </dgm:pt>
    <dgm:pt modelId="{154E4E70-452C-4CC7-A1F2-CC42AEBC568D}" type="sibTrans" cxnId="{A67AA2D5-CFD3-4269-AA06-B40FCCBFB629}">
      <dgm:prSet/>
      <dgm:spPr/>
      <dgm:t>
        <a:bodyPr/>
        <a:lstStyle/>
        <a:p>
          <a:endParaRPr lang="ru-RU"/>
        </a:p>
      </dgm:t>
    </dgm:pt>
    <dgm:pt modelId="{18D0501C-ED40-4CF0-878E-96A9B9D97B72}">
      <dgm:prSet custT="1"/>
      <dgm:spPr/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Организация и проведение работ по учету численности охотничьих ресурсов и утверждению квоты на добычу охотничьих ресурсов</a:t>
          </a:r>
        </a:p>
      </dgm:t>
    </dgm:pt>
    <dgm:pt modelId="{AF6EC5D3-8ACF-4F76-8F07-0A6F72964914}" type="parTrans" cxnId="{58A83C44-C1D8-4BFD-A86B-11C2CBBA4FF7}">
      <dgm:prSet/>
      <dgm:spPr/>
      <dgm:t>
        <a:bodyPr/>
        <a:lstStyle/>
        <a:p>
          <a:endParaRPr lang="ru-RU"/>
        </a:p>
      </dgm:t>
    </dgm:pt>
    <dgm:pt modelId="{F62FC6EC-FF47-425A-9721-B40F136EFA5D}" type="sibTrans" cxnId="{58A83C44-C1D8-4BFD-A86B-11C2CBBA4FF7}">
      <dgm:prSet/>
      <dgm:spPr/>
      <dgm:t>
        <a:bodyPr/>
        <a:lstStyle/>
        <a:p>
          <a:endParaRPr lang="ru-RU"/>
        </a:p>
      </dgm:t>
    </dgm:pt>
    <dgm:pt modelId="{3B68C2FB-CF1B-471C-80D9-3C61C157F905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E775E2A-F391-4809-8E5B-FCF5B20A2A05}" type="parTrans" cxnId="{7CB1C76F-46E9-4D32-B9AE-A799ED2A9F11}">
      <dgm:prSet/>
      <dgm:spPr/>
      <dgm:t>
        <a:bodyPr/>
        <a:lstStyle/>
        <a:p>
          <a:endParaRPr lang="ru-RU"/>
        </a:p>
      </dgm:t>
    </dgm:pt>
    <dgm:pt modelId="{4B5777A3-18D3-432F-BB11-920C4397517D}" type="sibTrans" cxnId="{7CB1C76F-46E9-4D32-B9AE-A799ED2A9F11}">
      <dgm:prSet/>
      <dgm:spPr/>
      <dgm:t>
        <a:bodyPr/>
        <a:lstStyle/>
        <a:p>
          <a:endParaRPr lang="ru-RU"/>
        </a:p>
      </dgm:t>
    </dgm:pt>
    <dgm:pt modelId="{8B42D4F6-FDB6-46CA-8D5C-AA5079949170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Цифровизации массовых социально значимых услуг по выдаче охотничьих билетов и разрешений на добычу объектов животного мира</a:t>
          </a:r>
        </a:p>
      </dgm:t>
    </dgm:pt>
    <dgm:pt modelId="{336BCD22-4A8E-4C18-8410-B0E4FC89F770}" type="parTrans" cxnId="{2D2753A3-5DD7-4E74-97A6-B094A5C01650}">
      <dgm:prSet/>
      <dgm:spPr/>
      <dgm:t>
        <a:bodyPr/>
        <a:lstStyle/>
        <a:p>
          <a:endParaRPr lang="ru-RU"/>
        </a:p>
      </dgm:t>
    </dgm:pt>
    <dgm:pt modelId="{7985F01E-E219-4663-B40D-830ABD207E65}" type="sibTrans" cxnId="{2D2753A3-5DD7-4E74-97A6-B094A5C01650}">
      <dgm:prSet/>
      <dgm:spPr/>
      <dgm:t>
        <a:bodyPr/>
        <a:lstStyle/>
        <a:p>
          <a:endParaRPr lang="ru-RU"/>
        </a:p>
      </dgm:t>
    </dgm:pt>
    <dgm:pt modelId="{29B7ABB4-3267-4EF5-B079-41A06146F6C6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инятие проекта Закона Забайкальского края о порядке распределения разрешений на добычу охотничьих ресурсов</a:t>
          </a:r>
        </a:p>
      </dgm:t>
    </dgm:pt>
    <dgm:pt modelId="{ABC30229-F2ED-4E43-8658-4DA1B19F0F51}" type="parTrans" cxnId="{694AE3BD-3060-438C-910D-6FCBD14562CD}">
      <dgm:prSet/>
      <dgm:spPr/>
      <dgm:t>
        <a:bodyPr/>
        <a:lstStyle/>
        <a:p>
          <a:endParaRPr lang="ru-RU"/>
        </a:p>
      </dgm:t>
    </dgm:pt>
    <dgm:pt modelId="{ACCC113F-856B-4A60-9D66-E169C98FD37F}" type="sibTrans" cxnId="{694AE3BD-3060-438C-910D-6FCBD14562CD}">
      <dgm:prSet/>
      <dgm:spPr/>
      <dgm:t>
        <a:bodyPr/>
        <a:lstStyle/>
        <a:p>
          <a:endParaRPr lang="ru-RU"/>
        </a:p>
      </dgm:t>
    </dgm:pt>
    <dgm:pt modelId="{BC473983-6125-4DAA-9BFE-2233FE88E5CE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Увеличение размера вознаграждения за добытого волка до 15 тыс. рублей.</a:t>
          </a:r>
        </a:p>
      </dgm:t>
    </dgm:pt>
    <dgm:pt modelId="{99265204-E2FC-4E8D-AB7E-051245765C70}" type="parTrans" cxnId="{BB97A97A-25AE-4709-A3D7-0C477635C2CF}">
      <dgm:prSet/>
      <dgm:spPr/>
      <dgm:t>
        <a:bodyPr/>
        <a:lstStyle/>
        <a:p>
          <a:endParaRPr lang="ru-RU"/>
        </a:p>
      </dgm:t>
    </dgm:pt>
    <dgm:pt modelId="{B6C3F4D7-B347-4904-9977-1A27E4AFD451}" type="sibTrans" cxnId="{BB97A97A-25AE-4709-A3D7-0C477635C2CF}">
      <dgm:prSet/>
      <dgm:spPr/>
      <dgm:t>
        <a:bodyPr/>
        <a:lstStyle/>
        <a:p>
          <a:endParaRPr lang="ru-RU"/>
        </a:p>
      </dgm:t>
    </dgm:pt>
    <dgm:pt modelId="{7A35864E-E22F-4F53-ABAC-4D847BD62178}">
      <dgm:prSet custT="1"/>
      <dgm:spPr/>
      <dgm:t>
        <a:bodyPr/>
        <a:lstStyle/>
        <a:p>
          <a:endParaRPr lang="ru-RU" sz="16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F640BA-4AD1-4909-92A6-BC5898DF0115}" type="parTrans" cxnId="{D879138A-9810-4E4E-9C21-056E360E71C9}">
      <dgm:prSet/>
      <dgm:spPr/>
      <dgm:t>
        <a:bodyPr/>
        <a:lstStyle/>
        <a:p>
          <a:endParaRPr lang="ru-RU"/>
        </a:p>
      </dgm:t>
    </dgm:pt>
    <dgm:pt modelId="{84D59813-ACB1-4768-90B8-0EEC32736419}" type="sibTrans" cxnId="{D879138A-9810-4E4E-9C21-056E360E71C9}">
      <dgm:prSet/>
      <dgm:spPr/>
      <dgm:t>
        <a:bodyPr/>
        <a:lstStyle/>
        <a:p>
          <a:endParaRPr lang="ru-RU"/>
        </a:p>
      </dgm:t>
    </dgm:pt>
    <dgm:pt modelId="{0F0C238A-E509-4E65-BC9C-3733FC88324F}">
      <dgm:prSet custT="1"/>
      <dgm:spPr/>
      <dgm:t>
        <a:bodyPr/>
        <a:lstStyle/>
        <a:p>
          <a:endParaRPr lang="ru-RU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0BDA79-A7A3-494D-8E62-525E3C302DB6}" type="parTrans" cxnId="{654E615A-AE23-4A5C-8CF6-A26537E3A1A8}">
      <dgm:prSet/>
      <dgm:spPr/>
    </dgm:pt>
    <dgm:pt modelId="{A6DB8DE5-0702-43BD-A207-9798FE4CB88E}" type="sibTrans" cxnId="{654E615A-AE23-4A5C-8CF6-A26537E3A1A8}">
      <dgm:prSet/>
      <dgm:spPr/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1C0BA2E-8C70-442B-8593-4E4011FAB492}" type="presOf" srcId="{0F0C238A-E509-4E65-BC9C-3733FC88324F}" destId="{BA1055A7-1216-4086-83B6-4D1BE3CE8907}" srcOrd="0" destOrd="1" presId="urn:microsoft.com/office/officeart/2005/8/layout/chevron2"/>
    <dgm:cxn modelId="{D879138A-9810-4E4E-9C21-056E360E71C9}" srcId="{E8C4C2EF-81D2-4B22-8A1D-88D0C558CD53}" destId="{7A35864E-E22F-4F53-ABAC-4D847BD62178}" srcOrd="4" destOrd="0" parTransId="{6BF640BA-4AD1-4909-92A6-BC5898DF0115}" sibTransId="{84D59813-ACB1-4768-90B8-0EEC32736419}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0827A350-8A83-4E51-A1F6-57B52906266A}" type="presOf" srcId="{3B68C2FB-CF1B-471C-80D9-3C61C157F905}" destId="{BA1055A7-1216-4086-83B6-4D1BE3CE8907}" srcOrd="0" destOrd="4" presId="urn:microsoft.com/office/officeart/2005/8/layout/chevron2"/>
    <dgm:cxn modelId="{694AE3BD-3060-438C-910D-6FCBD14562CD}" srcId="{E8C4C2EF-81D2-4B22-8A1D-88D0C558CD53}" destId="{29B7ABB4-3267-4EF5-B079-41A06146F6C6}" srcOrd="2" destOrd="0" parTransId="{ABC30229-F2ED-4E43-8658-4DA1B19F0F51}" sibTransId="{ACCC113F-856B-4A60-9D66-E169C98FD37F}"/>
    <dgm:cxn modelId="{EA97B84C-ABFD-4721-AB16-7EAF36BB527F}" type="presOf" srcId="{8B42D4F6-FDB6-46CA-8D5C-AA5079949170}" destId="{054E0B3D-A8D3-46C8-8CC8-57479A6700D3}" srcOrd="0" destOrd="1" presId="urn:microsoft.com/office/officeart/2005/8/layout/chevron2"/>
    <dgm:cxn modelId="{D0166FD5-B0D0-4358-8601-4528F1276B17}" type="presOf" srcId="{E8C4C2EF-81D2-4B22-8A1D-88D0C558CD53}" destId="{302FC55C-58A2-4FF3-96AC-10CFA0052481}" srcOrd="0" destOrd="0" presId="urn:microsoft.com/office/officeart/2005/8/layout/chevron2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40BFD8D0-88DF-41FE-AE16-2ABF5317767E}" srcId="{18728B41-1962-40FC-B86A-9356146B5A68}" destId="{A19DD952-7AF2-43FB-8C71-741C6A8EDD1A}" srcOrd="5" destOrd="0" parTransId="{2E62234C-39E6-45FB-A771-12E6A83C3410}" sibTransId="{4FEDA9C8-B46E-4B48-A040-7D61DE989F95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A0599259-5125-4C59-B7C5-AE5B0CDB7B13}" type="presOf" srcId="{2F1743FF-F80D-4A6A-82A2-4658802A24D9}" destId="{BA1055A7-1216-4086-83B6-4D1BE3CE8907}" srcOrd="0" destOrd="2" presId="urn:microsoft.com/office/officeart/2005/8/layout/chevron2"/>
    <dgm:cxn modelId="{B653096B-71B5-484A-AC39-0D289358BA36}" type="presOf" srcId="{18728B41-1962-40FC-B86A-9356146B5A68}" destId="{B3C1D9A3-46B4-4E40-BD14-497C0DCDB4DC}" srcOrd="0" destOrd="0" presId="urn:microsoft.com/office/officeart/2005/8/layout/chevron2"/>
    <dgm:cxn modelId="{BB97A97A-25AE-4709-A3D7-0C477635C2CF}" srcId="{E8C4C2EF-81D2-4B22-8A1D-88D0C558CD53}" destId="{BC473983-6125-4DAA-9BFE-2233FE88E5CE}" srcOrd="3" destOrd="0" parTransId="{99265204-E2FC-4E8D-AB7E-051245765C70}" sibTransId="{B6C3F4D7-B347-4904-9977-1A27E4AFD451}"/>
    <dgm:cxn modelId="{EAFE3292-86EB-4C9D-AA89-A6ED7F090021}" type="presOf" srcId="{A19DD952-7AF2-43FB-8C71-741C6A8EDD1A}" destId="{BA1055A7-1216-4086-83B6-4D1BE3CE8907}" srcOrd="0" destOrd="5" presId="urn:microsoft.com/office/officeart/2005/8/layout/chevron2"/>
    <dgm:cxn modelId="{36ADD4F2-3CE9-4C4F-8546-AFEA257E7F0F}" type="presOf" srcId="{18D0501C-ED40-4CF0-878E-96A9B9D97B72}" destId="{BA1055A7-1216-4086-83B6-4D1BE3CE8907}" srcOrd="0" destOrd="3" presId="urn:microsoft.com/office/officeart/2005/8/layout/chevron2"/>
    <dgm:cxn modelId="{AB47ACAA-3207-43F2-851F-FA2294844761}" type="presOf" srcId="{29B7ABB4-3267-4EF5-B079-41A06146F6C6}" destId="{054E0B3D-A8D3-46C8-8CC8-57479A6700D3}" srcOrd="0" destOrd="2" presId="urn:microsoft.com/office/officeart/2005/8/layout/chevron2"/>
    <dgm:cxn modelId="{58A83C44-C1D8-4BFD-A86B-11C2CBBA4FF7}" srcId="{18728B41-1962-40FC-B86A-9356146B5A68}" destId="{18D0501C-ED40-4CF0-878E-96A9B9D97B72}" srcOrd="3" destOrd="0" parTransId="{AF6EC5D3-8ACF-4F76-8F07-0A6F72964914}" sibTransId="{F62FC6EC-FF47-425A-9721-B40F136EFA5D}"/>
    <dgm:cxn modelId="{645536A3-245F-4A9F-8975-28DF3852D9A4}" type="presOf" srcId="{1ABDF41F-8084-474E-8ACB-67C32FF2A1EF}" destId="{054E0B3D-A8D3-46C8-8CC8-57479A6700D3}" srcOrd="0" destOrd="0" presId="urn:microsoft.com/office/officeart/2005/8/layout/chevron2"/>
    <dgm:cxn modelId="{5F655974-E4BD-418C-9F64-919C5197E860}" srcId="{DEA64100-CF05-47A1-B324-B7A5DDB36E93}" destId="{E64823D9-24AE-431A-AD70-E6E1A18EBBAA}" srcOrd="1" destOrd="0" parTransId="{0D3F1FE1-0F9B-41FD-87C0-24D351E39B3F}" sibTransId="{01432303-BE5B-4961-BD29-F231ACF62C15}"/>
    <dgm:cxn modelId="{018620FC-4DAD-44DB-A078-B387C8E3CD4B}" type="presOf" srcId="{58CB288E-F9F4-4BB8-9851-2A6C7C3578F4}" destId="{4BC5D174-82E1-455A-8266-2EF651317590}" srcOrd="0" destOrd="0" presId="urn:microsoft.com/office/officeart/2005/8/layout/chevron2"/>
    <dgm:cxn modelId="{3D822A76-B7A6-426E-AA7D-E45E1617DF68}" type="presOf" srcId="{7A35864E-E22F-4F53-ABAC-4D847BD62178}" destId="{054E0B3D-A8D3-46C8-8CC8-57479A6700D3}" srcOrd="0" destOrd="4" presId="urn:microsoft.com/office/officeart/2005/8/layout/chevron2"/>
    <dgm:cxn modelId="{20C806E8-1B91-4CCC-86B1-D3724423B455}" type="presOf" srcId="{D411A21B-1094-4E74-9F1B-CF6C6E2B675E}" destId="{CEB1617E-7ABE-4EBF-B914-C8E149BFD968}" srcOrd="0" destOrd="0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49C905B2-78DC-4CE0-B93D-31ECF1ED9303}" type="presOf" srcId="{BC473983-6125-4DAA-9BFE-2233FE88E5CE}" destId="{054E0B3D-A8D3-46C8-8CC8-57479A6700D3}" srcOrd="0" destOrd="3" presId="urn:microsoft.com/office/officeart/2005/8/layout/chevron2"/>
    <dgm:cxn modelId="{2DA9EEBB-9F8A-484B-8EE6-C103117FC1D0}" type="presOf" srcId="{A2D40B80-A2E8-49E7-8480-DF0AD1F27530}" destId="{BA1055A7-1216-4086-83B6-4D1BE3CE8907}" srcOrd="0" destOrd="0" presId="urn:microsoft.com/office/officeart/2005/8/layout/chevron2"/>
    <dgm:cxn modelId="{985AA0CB-DDF1-4D21-86EA-B53E90361E35}" type="presOf" srcId="{E64823D9-24AE-431A-AD70-E6E1A18EBBAA}" destId="{4BC5D174-82E1-455A-8266-2EF651317590}" srcOrd="0" destOrd="1" presId="urn:microsoft.com/office/officeart/2005/8/layout/chevron2"/>
    <dgm:cxn modelId="{14108628-7B53-42B5-8C1E-745065F6BA23}" srcId="{DEA64100-CF05-47A1-B324-B7A5DDB36E93}" destId="{9DE67515-AAD3-4572-A14A-883CF450B503}" srcOrd="3" destOrd="0" parTransId="{0C70D8C8-C372-481C-A2C5-0155F1B26106}" sibTransId="{111DD224-21B2-4834-8684-D109BDA0C007}"/>
    <dgm:cxn modelId="{2A1E2080-937C-49FC-9A7F-C88459656839}" type="presOf" srcId="{9DE67515-AAD3-4572-A14A-883CF450B503}" destId="{4BC5D174-82E1-455A-8266-2EF651317590}" srcOrd="0" destOrd="3" presId="urn:microsoft.com/office/officeart/2005/8/layout/chevron2"/>
    <dgm:cxn modelId="{654E615A-AE23-4A5C-8CF6-A26537E3A1A8}" srcId="{18728B41-1962-40FC-B86A-9356146B5A68}" destId="{0F0C238A-E509-4E65-BC9C-3733FC88324F}" srcOrd="1" destOrd="0" parTransId="{B90BDA79-A7A3-494D-8E62-525E3C302DB6}" sibTransId="{A6DB8DE5-0702-43BD-A207-9798FE4CB88E}"/>
    <dgm:cxn modelId="{FF3574D7-F0F7-4786-B03A-0BEFCF24D672}" srcId="{DEA64100-CF05-47A1-B324-B7A5DDB36E93}" destId="{43C0D5F2-D2B9-4579-BB7F-5C7D473459F0}" srcOrd="2" destOrd="0" parTransId="{DB67738F-2269-4324-AFB3-3CF69D356C4C}" sibTransId="{67570E7A-BB7B-43C8-AB49-20F8647DB0CB}"/>
    <dgm:cxn modelId="{7CB1C76F-46E9-4D32-B9AE-A799ED2A9F11}" srcId="{18728B41-1962-40FC-B86A-9356146B5A68}" destId="{3B68C2FB-CF1B-471C-80D9-3C61C157F905}" srcOrd="4" destOrd="0" parTransId="{9E775E2A-F391-4809-8E5B-FCF5B20A2A05}" sibTransId="{4B5777A3-18D3-432F-BB11-920C4397517D}"/>
    <dgm:cxn modelId="{A67AA2D5-CFD3-4269-AA06-B40FCCBFB629}" srcId="{18728B41-1962-40FC-B86A-9356146B5A68}" destId="{2F1743FF-F80D-4A6A-82A2-4658802A24D9}" srcOrd="2" destOrd="0" parTransId="{3130AA92-67DA-4D45-94CB-3BE4DBB2E5AB}" sibTransId="{154E4E70-452C-4CC7-A1F2-CC42AEBC568D}"/>
    <dgm:cxn modelId="{1CE25D54-7409-4184-B80F-6A1E168404C2}" type="presOf" srcId="{43C0D5F2-D2B9-4579-BB7F-5C7D473459F0}" destId="{4BC5D174-82E1-455A-8266-2EF651317590}" srcOrd="0" destOrd="2" presId="urn:microsoft.com/office/officeart/2005/8/layout/chevron2"/>
    <dgm:cxn modelId="{2D2753A3-5DD7-4E74-97A6-B094A5C01650}" srcId="{E8C4C2EF-81D2-4B22-8A1D-88D0C558CD53}" destId="{8B42D4F6-FDB6-46CA-8D5C-AA5079949170}" srcOrd="1" destOrd="0" parTransId="{336BCD22-4A8E-4C18-8410-B0E4FC89F770}" sibTransId="{7985F01E-E219-4663-B40D-830ABD207E65}"/>
    <dgm:cxn modelId="{C35B7A8A-E14E-4E4B-BC2B-985EC1B35FFA}" type="presOf" srcId="{DEA64100-CF05-47A1-B324-B7A5DDB36E93}" destId="{29C5F787-6539-40B8-B7D2-7E50296FD528}" srcOrd="0" destOrd="0" presId="urn:microsoft.com/office/officeart/2005/8/layout/chevron2"/>
    <dgm:cxn modelId="{1C253CFB-9242-4A41-A343-6DE5E37DF661}" type="presParOf" srcId="{CEB1617E-7ABE-4EBF-B914-C8E149BFD968}" destId="{85B13D13-17B0-48B9-8B0B-E25A451A0D88}" srcOrd="0" destOrd="0" presId="urn:microsoft.com/office/officeart/2005/8/layout/chevron2"/>
    <dgm:cxn modelId="{56C5F534-86A5-4875-BE49-2614A197E0BB}" type="presParOf" srcId="{85B13D13-17B0-48B9-8B0B-E25A451A0D88}" destId="{29C5F787-6539-40B8-B7D2-7E50296FD528}" srcOrd="0" destOrd="0" presId="urn:microsoft.com/office/officeart/2005/8/layout/chevron2"/>
    <dgm:cxn modelId="{6098854D-E1A2-4024-A19C-22058F5B22C4}" type="presParOf" srcId="{85B13D13-17B0-48B9-8B0B-E25A451A0D88}" destId="{4BC5D174-82E1-455A-8266-2EF651317590}" srcOrd="1" destOrd="0" presId="urn:microsoft.com/office/officeart/2005/8/layout/chevron2"/>
    <dgm:cxn modelId="{667FB7D3-8148-4B7E-8381-28330A1800F9}" type="presParOf" srcId="{CEB1617E-7ABE-4EBF-B914-C8E149BFD968}" destId="{F4A068E8-600F-46D8-82E3-B7B2E8ED51B3}" srcOrd="1" destOrd="0" presId="urn:microsoft.com/office/officeart/2005/8/layout/chevron2"/>
    <dgm:cxn modelId="{2D29450C-54A0-448A-B491-4A2EE7D0A431}" type="presParOf" srcId="{CEB1617E-7ABE-4EBF-B914-C8E149BFD968}" destId="{90FA17FB-56EA-4A20-A631-3E2625120CA1}" srcOrd="2" destOrd="0" presId="urn:microsoft.com/office/officeart/2005/8/layout/chevron2"/>
    <dgm:cxn modelId="{A8B7F814-4EBE-4C51-8757-C05C29D98C88}" type="presParOf" srcId="{90FA17FB-56EA-4A20-A631-3E2625120CA1}" destId="{B3C1D9A3-46B4-4E40-BD14-497C0DCDB4DC}" srcOrd="0" destOrd="0" presId="urn:microsoft.com/office/officeart/2005/8/layout/chevron2"/>
    <dgm:cxn modelId="{709548A8-E92A-4A28-BE6D-A0425D98C9BA}" type="presParOf" srcId="{90FA17FB-56EA-4A20-A631-3E2625120CA1}" destId="{BA1055A7-1216-4086-83B6-4D1BE3CE8907}" srcOrd="1" destOrd="0" presId="urn:microsoft.com/office/officeart/2005/8/layout/chevron2"/>
    <dgm:cxn modelId="{EBEC4F20-B805-4910-A2B9-69CCC0D2B024}" type="presParOf" srcId="{CEB1617E-7ABE-4EBF-B914-C8E149BFD968}" destId="{6ACCA3A6-7906-4632-B4CE-95157EE0E867}" srcOrd="3" destOrd="0" presId="urn:microsoft.com/office/officeart/2005/8/layout/chevron2"/>
    <dgm:cxn modelId="{C0BF8F10-552C-4F67-B831-2122C56A6542}" type="presParOf" srcId="{CEB1617E-7ABE-4EBF-B914-C8E149BFD968}" destId="{A26BA277-20E8-46F6-83B8-E92FFAE0EF5A}" srcOrd="4" destOrd="0" presId="urn:microsoft.com/office/officeart/2005/8/layout/chevron2"/>
    <dgm:cxn modelId="{16EC7D12-425C-4A01-AF88-9F077468B634}" type="presParOf" srcId="{A26BA277-20E8-46F6-83B8-E92FFAE0EF5A}" destId="{302FC55C-58A2-4FF3-96AC-10CFA0052481}" srcOrd="0" destOrd="0" presId="urn:microsoft.com/office/officeart/2005/8/layout/chevron2"/>
    <dgm:cxn modelId="{BC27F938-0F59-4C64-8960-D2C2123A0227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93DF20-3F7C-43B7-B09D-5EE8C735407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4D40893-B461-4E5A-8AB5-A267E484F51D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C45721CC-29AD-44E2-8AC0-358E50531D37}" type="parTrans" cxnId="{3553B402-000F-4981-B052-5ED24563F37C}">
      <dgm:prSet/>
      <dgm:spPr/>
      <dgm:t>
        <a:bodyPr/>
        <a:lstStyle/>
        <a:p>
          <a:endParaRPr lang="ru-RU"/>
        </a:p>
      </dgm:t>
    </dgm:pt>
    <dgm:pt modelId="{B88303CA-690D-46B6-9D2A-5F3665F46530}" type="sibTrans" cxnId="{3553B402-000F-4981-B052-5ED24563F37C}">
      <dgm:prSet/>
      <dgm:spPr/>
      <dgm:t>
        <a:bodyPr/>
        <a:lstStyle/>
        <a:p>
          <a:endParaRPr lang="ru-RU"/>
        </a:p>
      </dgm:t>
    </dgm:pt>
    <dgm:pt modelId="{23FEBC35-1AF9-4511-987F-895B1804161B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pPr algn="just"/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эффективного сохранения лесов, в том числе на всех участках вырубленных и погибших лесных насаждений, а также рационального многоцелевого и </a:t>
          </a:r>
          <a:r>
            <a:rPr lang="ru-RU" sz="1400" dirty="0" err="1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неистощительного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использования лесов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362804-ECF0-402E-BE79-3A49CE1CC741}" type="parTrans" cxnId="{84350811-F22A-47BF-8F31-B9909A207655}">
      <dgm:prSet/>
      <dgm:spPr/>
      <dgm:t>
        <a:bodyPr/>
        <a:lstStyle/>
        <a:p>
          <a:endParaRPr lang="ru-RU"/>
        </a:p>
      </dgm:t>
    </dgm:pt>
    <dgm:pt modelId="{D8C7234B-E40A-446B-8F4F-B8BA9436BCEF}" type="sibTrans" cxnId="{84350811-F22A-47BF-8F31-B9909A207655}">
      <dgm:prSet/>
      <dgm:spPr/>
      <dgm:t>
        <a:bodyPr/>
        <a:lstStyle/>
        <a:p>
          <a:endParaRPr lang="ru-RU"/>
        </a:p>
      </dgm:t>
    </dgm:pt>
    <dgm:pt modelId="{8DAC3558-7690-46C0-84FF-B580FF600B6F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8DABE695-2567-4441-AC8E-5F880B6894D7}" type="parTrans" cxnId="{F874D95D-EFC0-4997-B102-750350EBF860}">
      <dgm:prSet/>
      <dgm:spPr/>
      <dgm:t>
        <a:bodyPr/>
        <a:lstStyle/>
        <a:p>
          <a:endParaRPr lang="ru-RU"/>
        </a:p>
      </dgm:t>
    </dgm:pt>
    <dgm:pt modelId="{787F8424-02A0-4610-830F-73CC214794BC}" type="sibTrans" cxnId="{F874D95D-EFC0-4997-B102-750350EBF860}">
      <dgm:prSet/>
      <dgm:spPr/>
      <dgm:t>
        <a:bodyPr/>
        <a:lstStyle/>
        <a:p>
          <a:endParaRPr lang="ru-RU"/>
        </a:p>
      </dgm:t>
    </dgm:pt>
    <dgm:pt modelId="{68EB5FD8-69E4-40D5-A325-47767B39E4BB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существление мер по предотвращению негативного воздействия вод, охране водных объектов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931BFB-5451-43E6-AA0C-FE8694C83325}" type="parTrans" cxnId="{B9BFC001-F104-4775-B13A-62F182E96F59}">
      <dgm:prSet/>
      <dgm:spPr/>
      <dgm:t>
        <a:bodyPr/>
        <a:lstStyle/>
        <a:p>
          <a:endParaRPr lang="ru-RU"/>
        </a:p>
      </dgm:t>
    </dgm:pt>
    <dgm:pt modelId="{9ABE7443-1835-445B-B74F-38864593455F}" type="sibTrans" cxnId="{B9BFC001-F104-4775-B13A-62F182E96F59}">
      <dgm:prSet/>
      <dgm:spPr/>
      <dgm:t>
        <a:bodyPr/>
        <a:lstStyle/>
        <a:p>
          <a:endParaRPr lang="ru-RU"/>
        </a:p>
      </dgm:t>
    </dgm:pt>
    <dgm:pt modelId="{F1337DE6-D81B-47EC-8A7E-972DE1D85E48}">
      <dgm:prSet phldrT="[Текст]"/>
      <dgm:spPr>
        <a:solidFill>
          <a:srgbClr val="4472C4"/>
        </a:solidFill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8486BC7C-79EB-4C4A-BCCC-68347E8AB39A}" type="parTrans" cxnId="{4C4A9B74-4601-469B-8BF1-C05E3453B77B}">
      <dgm:prSet/>
      <dgm:spPr/>
      <dgm:t>
        <a:bodyPr/>
        <a:lstStyle/>
        <a:p>
          <a:endParaRPr lang="ru-RU"/>
        </a:p>
      </dgm:t>
    </dgm:pt>
    <dgm:pt modelId="{41B26D15-DFC6-4583-B684-3AA04405952D}" type="sibTrans" cxnId="{4C4A9B74-4601-469B-8BF1-C05E3453B77B}">
      <dgm:prSet/>
      <dgm:spPr/>
      <dgm:t>
        <a:bodyPr/>
        <a:lstStyle/>
        <a:p>
          <a:endParaRPr lang="ru-RU"/>
        </a:p>
      </dgm:t>
    </dgm:pt>
    <dgm:pt modelId="{5D287E03-9244-43DE-B470-969A42850253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pPr marL="0" indent="0" algn="just" defTabSz="533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ru-RU" sz="1200" dirty="0" smtClean="0">
              <a:ea typeface="Calibri"/>
              <a:cs typeface="Arial" panose="020B0604020202020204" pitchFamily="34" charset="0"/>
            </a:rPr>
            <a:t> </a:t>
          </a: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совершенствование государственного управления системой особо охраняемых природных территорий     регионального значения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8FC36BF-74EB-4AC4-9483-BF9C320CEAA9}" type="parTrans" cxnId="{46CF1D1C-9134-42B0-A2C8-011D45FFCAB2}">
      <dgm:prSet/>
      <dgm:spPr/>
      <dgm:t>
        <a:bodyPr/>
        <a:lstStyle/>
        <a:p>
          <a:endParaRPr lang="ru-RU"/>
        </a:p>
      </dgm:t>
    </dgm:pt>
    <dgm:pt modelId="{DF1549AE-4A8E-46B9-BFA8-AFF80186E8DB}" type="sibTrans" cxnId="{46CF1D1C-9134-42B0-A2C8-011D45FFCAB2}">
      <dgm:prSet/>
      <dgm:spPr/>
      <dgm:t>
        <a:bodyPr/>
        <a:lstStyle/>
        <a:p>
          <a:endParaRPr lang="ru-RU"/>
        </a:p>
      </dgm:t>
    </dgm:pt>
    <dgm:pt modelId="{1677070D-9310-49DB-A604-DF23E2C9C59E}">
      <dgm:prSet custT="1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безопасности гидротехнических сооружений;</a:t>
          </a:r>
        </a:p>
      </dgm:t>
    </dgm:pt>
    <dgm:pt modelId="{368DAD6D-FF51-4478-A12C-38D19DADF61E}" type="parTrans" cxnId="{2B23B8DA-9624-4ACD-910A-537DB2E02EEA}">
      <dgm:prSet/>
      <dgm:spPr/>
      <dgm:t>
        <a:bodyPr/>
        <a:lstStyle/>
        <a:p>
          <a:endParaRPr lang="ru-RU"/>
        </a:p>
      </dgm:t>
    </dgm:pt>
    <dgm:pt modelId="{82CED357-D20C-4F65-97B0-08D8C95AB355}" type="sibTrans" cxnId="{2B23B8DA-9624-4ACD-910A-537DB2E02EEA}">
      <dgm:prSet/>
      <dgm:spPr/>
      <dgm:t>
        <a:bodyPr/>
        <a:lstStyle/>
        <a:p>
          <a:endParaRPr lang="ru-RU"/>
        </a:p>
      </dgm:t>
    </dgm:pt>
    <dgm:pt modelId="{11F5FF74-C3D8-49B2-9408-18CDAF616671}">
      <dgm:prSet custT="1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;</a:t>
          </a:r>
        </a:p>
      </dgm:t>
    </dgm:pt>
    <dgm:pt modelId="{A49B339C-A07B-4B13-BF57-A1F83D84A0AA}" type="parTrans" cxnId="{C7ECB875-4B44-4FD5-8953-539D872FC7D9}">
      <dgm:prSet/>
      <dgm:spPr/>
      <dgm:t>
        <a:bodyPr/>
        <a:lstStyle/>
        <a:p>
          <a:endParaRPr lang="ru-RU"/>
        </a:p>
      </dgm:t>
    </dgm:pt>
    <dgm:pt modelId="{6F54FD86-EDEE-4653-B32F-55DE96352FA1}" type="sibTrans" cxnId="{C7ECB875-4B44-4FD5-8953-539D872FC7D9}">
      <dgm:prSet/>
      <dgm:spPr/>
      <dgm:t>
        <a:bodyPr/>
        <a:lstStyle/>
        <a:p>
          <a:endParaRPr lang="ru-RU"/>
        </a:p>
      </dgm:t>
    </dgm:pt>
    <dgm:pt modelId="{39E02EC9-0A6C-4F57-ABF5-CE534C45D24B}">
      <dgm:prSet custT="1"/>
      <dgm:spPr>
        <a:ln>
          <a:solidFill>
            <a:srgbClr val="00B050"/>
          </a:solidFill>
        </a:ln>
      </dgm:spPr>
      <dgm:t>
        <a:bodyPr/>
        <a:lstStyle/>
        <a:p>
          <a:pPr algn="just"/>
          <a:r>
            <a: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воспроизводства минерально-сырьевой базы, ее рационального использования и охраны недр на территории Забайкальского края</a:t>
          </a:r>
          <a:endParaRPr lang="ru-RU" sz="1400" dirty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96A7FC-4597-4927-AA31-63E0540282F3}" type="parTrans" cxnId="{FA4F11BC-C673-4086-B4AD-DB7F43BB3918}">
      <dgm:prSet/>
      <dgm:spPr/>
      <dgm:t>
        <a:bodyPr/>
        <a:lstStyle/>
        <a:p>
          <a:endParaRPr lang="ru-RU"/>
        </a:p>
      </dgm:t>
    </dgm:pt>
    <dgm:pt modelId="{0DA2C195-084D-4B81-BCA2-CDCC4E4BA8EC}" type="sibTrans" cxnId="{FA4F11BC-C673-4086-B4AD-DB7F43BB3918}">
      <dgm:prSet/>
      <dgm:spPr/>
      <dgm:t>
        <a:bodyPr/>
        <a:lstStyle/>
        <a:p>
          <a:endParaRPr lang="ru-RU"/>
        </a:p>
      </dgm:t>
    </dgm:pt>
    <dgm:pt modelId="{EEC7568C-FC48-4326-B369-DB0548556D4B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pPr algn="just"/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эффективного управления лесами и устойчивого развития лесного сектора экономики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B08B50-4EF9-4D76-A117-A44A9FD8D2EE}" type="parTrans" cxnId="{D098C651-A4FC-4B58-8596-104FD8B5F27F}">
      <dgm:prSet/>
      <dgm:spPr/>
      <dgm:t>
        <a:bodyPr/>
        <a:lstStyle/>
        <a:p>
          <a:endParaRPr lang="ru-RU"/>
        </a:p>
      </dgm:t>
    </dgm:pt>
    <dgm:pt modelId="{FFBA6DBB-233A-4108-B0A5-A821B731E580}" type="sibTrans" cxnId="{D098C651-A4FC-4B58-8596-104FD8B5F27F}">
      <dgm:prSet/>
      <dgm:spPr/>
      <dgm:t>
        <a:bodyPr/>
        <a:lstStyle/>
        <a:p>
          <a:endParaRPr lang="ru-RU"/>
        </a:p>
      </dgm:t>
    </dgm:pt>
    <dgm:pt modelId="{E13158C5-5E06-4175-8392-2FDC10A2CEE7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pPr algn="just"/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контроля за использованием лесов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F4238D-FCBA-40C5-9DCA-281635A4F185}" type="parTrans" cxnId="{288FCCB8-02B5-49EF-BE34-E660C738084B}">
      <dgm:prSet/>
      <dgm:spPr/>
      <dgm:t>
        <a:bodyPr/>
        <a:lstStyle/>
        <a:p>
          <a:endParaRPr lang="ru-RU"/>
        </a:p>
      </dgm:t>
    </dgm:pt>
    <dgm:pt modelId="{68ED7231-E390-4648-87AF-7683C3E91159}" type="sibTrans" cxnId="{288FCCB8-02B5-49EF-BE34-E660C738084B}">
      <dgm:prSet/>
      <dgm:spPr/>
      <dgm:t>
        <a:bodyPr/>
        <a:lstStyle/>
        <a:p>
          <a:endParaRPr lang="ru-RU"/>
        </a:p>
      </dgm:t>
    </dgm:pt>
    <dgm:pt modelId="{9AAEDBBF-F9E4-4D1B-8F60-5B2373852139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pPr algn="just"/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существление мер пожарной безопасности и тушения лесных пожаров в лесах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AFBDC2-A92B-467B-8791-28C0F1A7EC85}" type="parTrans" cxnId="{74B6F993-6A04-4A79-973C-2761752C8663}">
      <dgm:prSet/>
      <dgm:spPr/>
      <dgm:t>
        <a:bodyPr/>
        <a:lstStyle/>
        <a:p>
          <a:endParaRPr lang="ru-RU"/>
        </a:p>
      </dgm:t>
    </dgm:pt>
    <dgm:pt modelId="{D61A558E-83F2-4831-AF87-2AFD6AB4A14D}" type="sibTrans" cxnId="{74B6F993-6A04-4A79-973C-2761752C8663}">
      <dgm:prSet/>
      <dgm:spPr/>
      <dgm:t>
        <a:bodyPr/>
        <a:lstStyle/>
        <a:p>
          <a:endParaRPr lang="ru-RU"/>
        </a:p>
      </dgm:t>
    </dgm:pt>
    <dgm:pt modelId="{4B90173F-6AB3-4A81-8929-C365157B8DC0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создание условий для эффективного и устойчивого развития охотничьего хозяйства Забайкальского края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1F534E3-F69D-4C33-A74F-C4873AE7FFE9}" type="parTrans" cxnId="{72AF3865-5ECF-4A41-9C8C-0AB136F93404}">
      <dgm:prSet/>
      <dgm:spPr/>
      <dgm:t>
        <a:bodyPr/>
        <a:lstStyle/>
        <a:p>
          <a:endParaRPr lang="ru-RU"/>
        </a:p>
      </dgm:t>
    </dgm:pt>
    <dgm:pt modelId="{349B2DC6-8426-4475-BDE4-6E8E84586A84}" type="sibTrans" cxnId="{72AF3865-5ECF-4A41-9C8C-0AB136F93404}">
      <dgm:prSet/>
      <dgm:spPr/>
      <dgm:t>
        <a:bodyPr/>
        <a:lstStyle/>
        <a:p>
          <a:endParaRPr lang="ru-RU"/>
        </a:p>
      </dgm:t>
    </dgm:pt>
    <dgm:pt modelId="{353B04E1-9C96-4CDB-9ADA-BEA9B579CFF4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предупреждение и минимизация негативного воздействия на окружающую среду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E5FEED1-6A15-4E28-A1F7-E828A699041F}" type="parTrans" cxnId="{EF11E95B-695F-4A27-AF21-9780FFCB0688}">
      <dgm:prSet/>
      <dgm:spPr/>
      <dgm:t>
        <a:bodyPr/>
        <a:lstStyle/>
        <a:p>
          <a:endParaRPr lang="ru-RU"/>
        </a:p>
      </dgm:t>
    </dgm:pt>
    <dgm:pt modelId="{DCF94798-50A6-44FA-9D46-0244C70CE89A}" type="sibTrans" cxnId="{EF11E95B-695F-4A27-AF21-9780FFCB0688}">
      <dgm:prSet/>
      <dgm:spPr/>
      <dgm:t>
        <a:bodyPr/>
        <a:lstStyle/>
        <a:p>
          <a:endParaRPr lang="ru-RU"/>
        </a:p>
      </dgm:t>
    </dgm:pt>
    <dgm:pt modelId="{25934723-9231-4B5B-BA3F-D7D1145695FC}" type="pres">
      <dgm:prSet presAssocID="{2993DF20-3F7C-43B7-B09D-5EE8C735407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3DCFBB-1190-414F-87FE-193BB05AF415}" type="pres">
      <dgm:prSet presAssocID="{B4D40893-B461-4E5A-8AB5-A267E484F51D}" presName="composite" presStyleCnt="0"/>
      <dgm:spPr/>
    </dgm:pt>
    <dgm:pt modelId="{22D333BC-437B-41A2-B36A-6B1161636F40}" type="pres">
      <dgm:prSet presAssocID="{B4D40893-B461-4E5A-8AB5-A267E484F51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AEB15-ABB4-4F25-8D94-F860B8A7B674}" type="pres">
      <dgm:prSet presAssocID="{B4D40893-B461-4E5A-8AB5-A267E484F51D}" presName="descendantText" presStyleLbl="alignAcc1" presStyleIdx="0" presStyleCnt="3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FF6AB0-62EC-4080-83BA-AF6C0C4AD2FA}" type="pres">
      <dgm:prSet presAssocID="{B88303CA-690D-46B6-9D2A-5F3665F46530}" presName="sp" presStyleCnt="0"/>
      <dgm:spPr/>
    </dgm:pt>
    <dgm:pt modelId="{1DB0FA61-D994-4CD1-9483-116026D87E9C}" type="pres">
      <dgm:prSet presAssocID="{8DAC3558-7690-46C0-84FF-B580FF600B6F}" presName="composite" presStyleCnt="0"/>
      <dgm:spPr/>
    </dgm:pt>
    <dgm:pt modelId="{A1B0A6F7-1A19-4901-AB9A-DF2B5D272632}" type="pres">
      <dgm:prSet presAssocID="{8DAC3558-7690-46C0-84FF-B580FF600B6F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9B1D31-E938-4F83-94E4-9908CCE85DDE}" type="pres">
      <dgm:prSet presAssocID="{8DAC3558-7690-46C0-84FF-B580FF600B6F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49F71D-6CDB-4A5A-9613-798293338083}" type="pres">
      <dgm:prSet presAssocID="{787F8424-02A0-4610-830F-73CC214794BC}" presName="sp" presStyleCnt="0"/>
      <dgm:spPr/>
    </dgm:pt>
    <dgm:pt modelId="{963A247C-B3F4-4767-8632-D63E5E7F4552}" type="pres">
      <dgm:prSet presAssocID="{F1337DE6-D81B-47EC-8A7E-972DE1D85E48}" presName="composite" presStyleCnt="0"/>
      <dgm:spPr/>
    </dgm:pt>
    <dgm:pt modelId="{57E37E7D-5140-4D11-A0B4-8902CBC35DFB}" type="pres">
      <dgm:prSet presAssocID="{F1337DE6-D81B-47EC-8A7E-972DE1D85E48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F515F5-91AB-476E-A140-4ADD2EB165D8}" type="pres">
      <dgm:prSet presAssocID="{F1337DE6-D81B-47EC-8A7E-972DE1D85E48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24EB73D-452F-48C3-8D5C-A37D3BEC2641}" type="presOf" srcId="{E13158C5-5E06-4175-8392-2FDC10A2CEE7}" destId="{721AEB15-ABB4-4F25-8D94-F860B8A7B674}" srcOrd="0" destOrd="3" presId="urn:microsoft.com/office/officeart/2005/8/layout/chevron2"/>
    <dgm:cxn modelId="{F874D95D-EFC0-4997-B102-750350EBF860}" srcId="{2993DF20-3F7C-43B7-B09D-5EE8C735407E}" destId="{8DAC3558-7690-46C0-84FF-B580FF600B6F}" srcOrd="1" destOrd="0" parTransId="{8DABE695-2567-4441-AC8E-5F880B6894D7}" sibTransId="{787F8424-02A0-4610-830F-73CC214794BC}"/>
    <dgm:cxn modelId="{081227DF-33B0-4E12-99A5-C75D348437F0}" type="presOf" srcId="{4B90173F-6AB3-4A81-8929-C365157B8DC0}" destId="{53F515F5-91AB-476E-A140-4ADD2EB165D8}" srcOrd="0" destOrd="2" presId="urn:microsoft.com/office/officeart/2005/8/layout/chevron2"/>
    <dgm:cxn modelId="{74B6F993-6A04-4A79-973C-2761752C8663}" srcId="{B4D40893-B461-4E5A-8AB5-A267E484F51D}" destId="{9AAEDBBF-F9E4-4D1B-8F60-5B2373852139}" srcOrd="2" destOrd="0" parTransId="{CFAFBDC2-A92B-467B-8791-28C0F1A7EC85}" sibTransId="{D61A558E-83F2-4831-AF87-2AFD6AB4A14D}"/>
    <dgm:cxn modelId="{46CF1D1C-9134-42B0-A2C8-011D45FFCAB2}" srcId="{F1337DE6-D81B-47EC-8A7E-972DE1D85E48}" destId="{5D287E03-9244-43DE-B470-969A42850253}" srcOrd="0" destOrd="0" parTransId="{D8FC36BF-74EB-4AC4-9483-BF9C320CEAA9}" sibTransId="{DF1549AE-4A8E-46B9-BFA8-AFF80186E8DB}"/>
    <dgm:cxn modelId="{288FCCB8-02B5-49EF-BE34-E660C738084B}" srcId="{B4D40893-B461-4E5A-8AB5-A267E484F51D}" destId="{E13158C5-5E06-4175-8392-2FDC10A2CEE7}" srcOrd="3" destOrd="0" parTransId="{EBF4238D-FCBA-40C5-9DCA-281635A4F185}" sibTransId="{68ED7231-E390-4648-87AF-7683C3E91159}"/>
    <dgm:cxn modelId="{D098C651-A4FC-4B58-8596-104FD8B5F27F}" srcId="{B4D40893-B461-4E5A-8AB5-A267E484F51D}" destId="{EEC7568C-FC48-4326-B369-DB0548556D4B}" srcOrd="1" destOrd="0" parTransId="{B8B08B50-4EF9-4D76-A117-A44A9FD8D2EE}" sibTransId="{FFBA6DBB-233A-4108-B0A5-A821B731E580}"/>
    <dgm:cxn modelId="{C0C41B0C-307F-4FE0-9D2D-D1A76E530D93}" type="presOf" srcId="{11F5FF74-C3D8-49B2-9408-18CDAF616671}" destId="{C19B1D31-E938-4F83-94E4-9908CCE85DDE}" srcOrd="0" destOrd="2" presId="urn:microsoft.com/office/officeart/2005/8/layout/chevron2"/>
    <dgm:cxn modelId="{F578E736-EB93-4255-AE92-FC15B946CF39}" type="presOf" srcId="{39E02EC9-0A6C-4F57-ABF5-CE534C45D24B}" destId="{C19B1D31-E938-4F83-94E4-9908CCE85DDE}" srcOrd="0" destOrd="3" presId="urn:microsoft.com/office/officeart/2005/8/layout/chevron2"/>
    <dgm:cxn modelId="{57925D8B-73DC-45F9-90D2-7EB8EFCCB2A6}" type="presOf" srcId="{8DAC3558-7690-46C0-84FF-B580FF600B6F}" destId="{A1B0A6F7-1A19-4901-AB9A-DF2B5D272632}" srcOrd="0" destOrd="0" presId="urn:microsoft.com/office/officeart/2005/8/layout/chevron2"/>
    <dgm:cxn modelId="{3553B402-000F-4981-B052-5ED24563F37C}" srcId="{2993DF20-3F7C-43B7-B09D-5EE8C735407E}" destId="{B4D40893-B461-4E5A-8AB5-A267E484F51D}" srcOrd="0" destOrd="0" parTransId="{C45721CC-29AD-44E2-8AC0-358E50531D37}" sibTransId="{B88303CA-690D-46B6-9D2A-5F3665F46530}"/>
    <dgm:cxn modelId="{3908C627-E38D-4560-BC1D-763444BAED1F}" type="presOf" srcId="{B4D40893-B461-4E5A-8AB5-A267E484F51D}" destId="{22D333BC-437B-41A2-B36A-6B1161636F40}" srcOrd="0" destOrd="0" presId="urn:microsoft.com/office/officeart/2005/8/layout/chevron2"/>
    <dgm:cxn modelId="{84350811-F22A-47BF-8F31-B9909A207655}" srcId="{B4D40893-B461-4E5A-8AB5-A267E484F51D}" destId="{23FEBC35-1AF9-4511-987F-895B1804161B}" srcOrd="0" destOrd="0" parTransId="{1C362804-ECF0-402E-BE79-3A49CE1CC741}" sibTransId="{D8C7234B-E40A-446B-8F4F-B8BA9436BCEF}"/>
    <dgm:cxn modelId="{BB1E0026-3E42-4076-B5CA-2BE701E35A0B}" type="presOf" srcId="{F1337DE6-D81B-47EC-8A7E-972DE1D85E48}" destId="{57E37E7D-5140-4D11-A0B4-8902CBC35DFB}" srcOrd="0" destOrd="0" presId="urn:microsoft.com/office/officeart/2005/8/layout/chevron2"/>
    <dgm:cxn modelId="{C7ECB875-4B44-4FD5-8953-539D872FC7D9}" srcId="{8DAC3558-7690-46C0-84FF-B580FF600B6F}" destId="{11F5FF74-C3D8-49B2-9408-18CDAF616671}" srcOrd="2" destOrd="0" parTransId="{A49B339C-A07B-4B13-BF57-A1F83D84A0AA}" sibTransId="{6F54FD86-EDEE-4653-B32F-55DE96352FA1}"/>
    <dgm:cxn modelId="{26F010A2-A581-418D-B94D-14D68A20B44C}" type="presOf" srcId="{1677070D-9310-49DB-A604-DF23E2C9C59E}" destId="{C19B1D31-E938-4F83-94E4-9908CCE85DDE}" srcOrd="0" destOrd="1" presId="urn:microsoft.com/office/officeart/2005/8/layout/chevron2"/>
    <dgm:cxn modelId="{00DBFFA3-D94F-4DB3-936E-16C8F76C292F}" type="presOf" srcId="{5D287E03-9244-43DE-B470-969A42850253}" destId="{53F515F5-91AB-476E-A140-4ADD2EB165D8}" srcOrd="0" destOrd="0" presId="urn:microsoft.com/office/officeart/2005/8/layout/chevron2"/>
    <dgm:cxn modelId="{B3D6E905-79C9-43E7-8DBE-9EAB8FA8C77E}" type="presOf" srcId="{353B04E1-9C96-4CDB-9ADA-BEA9B579CFF4}" destId="{53F515F5-91AB-476E-A140-4ADD2EB165D8}" srcOrd="0" destOrd="1" presId="urn:microsoft.com/office/officeart/2005/8/layout/chevron2"/>
    <dgm:cxn modelId="{4C4A9B74-4601-469B-8BF1-C05E3453B77B}" srcId="{2993DF20-3F7C-43B7-B09D-5EE8C735407E}" destId="{F1337DE6-D81B-47EC-8A7E-972DE1D85E48}" srcOrd="2" destOrd="0" parTransId="{8486BC7C-79EB-4C4A-BCCC-68347E8AB39A}" sibTransId="{41B26D15-DFC6-4583-B684-3AA04405952D}"/>
    <dgm:cxn modelId="{68C8B3CD-D6E9-4B2C-9BB9-C0BA126E4FDC}" type="presOf" srcId="{EEC7568C-FC48-4326-B369-DB0548556D4B}" destId="{721AEB15-ABB4-4F25-8D94-F860B8A7B674}" srcOrd="0" destOrd="1" presId="urn:microsoft.com/office/officeart/2005/8/layout/chevron2"/>
    <dgm:cxn modelId="{17C0D3EC-8AA5-477A-BFFE-A337FD62B0AF}" type="presOf" srcId="{9AAEDBBF-F9E4-4D1B-8F60-5B2373852139}" destId="{721AEB15-ABB4-4F25-8D94-F860B8A7B674}" srcOrd="0" destOrd="2" presId="urn:microsoft.com/office/officeart/2005/8/layout/chevron2"/>
    <dgm:cxn modelId="{B9BFC001-F104-4775-B13A-62F182E96F59}" srcId="{8DAC3558-7690-46C0-84FF-B580FF600B6F}" destId="{68EB5FD8-69E4-40D5-A325-47767B39E4BB}" srcOrd="0" destOrd="0" parTransId="{C8931BFB-5451-43E6-AA0C-FE8694C83325}" sibTransId="{9ABE7443-1835-445B-B74F-38864593455F}"/>
    <dgm:cxn modelId="{FA4F11BC-C673-4086-B4AD-DB7F43BB3918}" srcId="{8DAC3558-7690-46C0-84FF-B580FF600B6F}" destId="{39E02EC9-0A6C-4F57-ABF5-CE534C45D24B}" srcOrd="3" destOrd="0" parTransId="{1296A7FC-4597-4927-AA31-63E0540282F3}" sibTransId="{0DA2C195-084D-4B81-BCA2-CDCC4E4BA8EC}"/>
    <dgm:cxn modelId="{EF11E95B-695F-4A27-AF21-9780FFCB0688}" srcId="{F1337DE6-D81B-47EC-8A7E-972DE1D85E48}" destId="{353B04E1-9C96-4CDB-9ADA-BEA9B579CFF4}" srcOrd="1" destOrd="0" parTransId="{DE5FEED1-6A15-4E28-A1F7-E828A699041F}" sibTransId="{DCF94798-50A6-44FA-9D46-0244C70CE89A}"/>
    <dgm:cxn modelId="{355986EE-9231-4917-B73C-19ED1136A37E}" type="presOf" srcId="{2993DF20-3F7C-43B7-B09D-5EE8C735407E}" destId="{25934723-9231-4B5B-BA3F-D7D1145695FC}" srcOrd="0" destOrd="0" presId="urn:microsoft.com/office/officeart/2005/8/layout/chevron2"/>
    <dgm:cxn modelId="{590A79E0-97EF-4048-82F7-DBB7E5C6B9D6}" type="presOf" srcId="{68EB5FD8-69E4-40D5-A325-47767B39E4BB}" destId="{C19B1D31-E938-4F83-94E4-9908CCE85DDE}" srcOrd="0" destOrd="0" presId="urn:microsoft.com/office/officeart/2005/8/layout/chevron2"/>
    <dgm:cxn modelId="{72AF3865-5ECF-4A41-9C8C-0AB136F93404}" srcId="{F1337DE6-D81B-47EC-8A7E-972DE1D85E48}" destId="{4B90173F-6AB3-4A81-8929-C365157B8DC0}" srcOrd="2" destOrd="0" parTransId="{51F534E3-F69D-4C33-A74F-C4873AE7FFE9}" sibTransId="{349B2DC6-8426-4475-BDE4-6E8E84586A84}"/>
    <dgm:cxn modelId="{23C6687D-5E9C-4A85-A2D8-2E860C7D1C5C}" type="presOf" srcId="{23FEBC35-1AF9-4511-987F-895B1804161B}" destId="{721AEB15-ABB4-4F25-8D94-F860B8A7B674}" srcOrd="0" destOrd="0" presId="urn:microsoft.com/office/officeart/2005/8/layout/chevron2"/>
    <dgm:cxn modelId="{2B23B8DA-9624-4ACD-910A-537DB2E02EEA}" srcId="{8DAC3558-7690-46C0-84FF-B580FF600B6F}" destId="{1677070D-9310-49DB-A604-DF23E2C9C59E}" srcOrd="1" destOrd="0" parTransId="{368DAD6D-FF51-4478-A12C-38D19DADF61E}" sibTransId="{82CED357-D20C-4F65-97B0-08D8C95AB355}"/>
    <dgm:cxn modelId="{B9787E21-70E8-4DDF-8C89-C2D453264405}" type="presParOf" srcId="{25934723-9231-4B5B-BA3F-D7D1145695FC}" destId="{603DCFBB-1190-414F-87FE-193BB05AF415}" srcOrd="0" destOrd="0" presId="urn:microsoft.com/office/officeart/2005/8/layout/chevron2"/>
    <dgm:cxn modelId="{A2436B10-94BB-4A9D-8A88-878C94B016E9}" type="presParOf" srcId="{603DCFBB-1190-414F-87FE-193BB05AF415}" destId="{22D333BC-437B-41A2-B36A-6B1161636F40}" srcOrd="0" destOrd="0" presId="urn:microsoft.com/office/officeart/2005/8/layout/chevron2"/>
    <dgm:cxn modelId="{2849EF0E-4DA3-4554-8617-CA5A9B6D2C12}" type="presParOf" srcId="{603DCFBB-1190-414F-87FE-193BB05AF415}" destId="{721AEB15-ABB4-4F25-8D94-F860B8A7B674}" srcOrd="1" destOrd="0" presId="urn:microsoft.com/office/officeart/2005/8/layout/chevron2"/>
    <dgm:cxn modelId="{709CB046-25BA-49D2-B30E-9C99D0DC0D10}" type="presParOf" srcId="{25934723-9231-4B5B-BA3F-D7D1145695FC}" destId="{D7FF6AB0-62EC-4080-83BA-AF6C0C4AD2FA}" srcOrd="1" destOrd="0" presId="urn:microsoft.com/office/officeart/2005/8/layout/chevron2"/>
    <dgm:cxn modelId="{A3CAAD03-2860-4588-BC7B-F302A0FD81A4}" type="presParOf" srcId="{25934723-9231-4B5B-BA3F-D7D1145695FC}" destId="{1DB0FA61-D994-4CD1-9483-116026D87E9C}" srcOrd="2" destOrd="0" presId="urn:microsoft.com/office/officeart/2005/8/layout/chevron2"/>
    <dgm:cxn modelId="{409BD8C3-8C36-4C4B-B51F-CAE509D32735}" type="presParOf" srcId="{1DB0FA61-D994-4CD1-9483-116026D87E9C}" destId="{A1B0A6F7-1A19-4901-AB9A-DF2B5D272632}" srcOrd="0" destOrd="0" presId="urn:microsoft.com/office/officeart/2005/8/layout/chevron2"/>
    <dgm:cxn modelId="{676B4678-E70F-44DA-BD5A-A589A59B68F7}" type="presParOf" srcId="{1DB0FA61-D994-4CD1-9483-116026D87E9C}" destId="{C19B1D31-E938-4F83-94E4-9908CCE85DDE}" srcOrd="1" destOrd="0" presId="urn:microsoft.com/office/officeart/2005/8/layout/chevron2"/>
    <dgm:cxn modelId="{7ABA08DD-DCB2-43DC-8BCE-349D5C88D458}" type="presParOf" srcId="{25934723-9231-4B5B-BA3F-D7D1145695FC}" destId="{D749F71D-6CDB-4A5A-9613-798293338083}" srcOrd="3" destOrd="0" presId="urn:microsoft.com/office/officeart/2005/8/layout/chevron2"/>
    <dgm:cxn modelId="{59721874-A07B-4809-89B9-7B59F93329F2}" type="presParOf" srcId="{25934723-9231-4B5B-BA3F-D7D1145695FC}" destId="{963A247C-B3F4-4767-8632-D63E5E7F4552}" srcOrd="4" destOrd="0" presId="urn:microsoft.com/office/officeart/2005/8/layout/chevron2"/>
    <dgm:cxn modelId="{4613D90B-3D2A-4216-AFB5-28561B720A86}" type="presParOf" srcId="{963A247C-B3F4-4767-8632-D63E5E7F4552}" destId="{57E37E7D-5140-4D11-A0B4-8902CBC35DFB}" srcOrd="0" destOrd="0" presId="urn:microsoft.com/office/officeart/2005/8/layout/chevron2"/>
    <dgm:cxn modelId="{4A0DB30F-94EA-4832-AC4C-6C7136E9D8D8}" type="presParOf" srcId="{963A247C-B3F4-4767-8632-D63E5E7F4552}" destId="{53F515F5-91AB-476E-A140-4ADD2EB165D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F9EFDC7-ADAB-47D2-B51A-0B6B06FA45BA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72FD68E-3B52-4B02-918B-5B2F9A3AA01F}">
      <dgm:prSet phldrT="[Текст]"/>
      <dgm:spPr>
        <a:solidFill>
          <a:srgbClr val="FFBCBC"/>
        </a:solidFill>
        <a:ln>
          <a:solidFill>
            <a:srgbClr val="AD0101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РАЗВИТИЕ ЛЕСНОГО ХОЗЯЙСТВА</a:t>
          </a:r>
          <a:endParaRPr lang="ru-RU" dirty="0">
            <a:solidFill>
              <a:schemeClr val="tx1"/>
            </a:solidFill>
          </a:endParaRPr>
        </a:p>
      </dgm:t>
    </dgm:pt>
    <dgm:pt modelId="{D3EC36A2-951D-4EB2-B577-678C44B4C320}" type="parTrans" cxnId="{CF55A269-1C5B-41B9-A943-8461BA89292E}">
      <dgm:prSet/>
      <dgm:spPr/>
      <dgm:t>
        <a:bodyPr/>
        <a:lstStyle/>
        <a:p>
          <a:endParaRPr lang="ru-RU"/>
        </a:p>
      </dgm:t>
    </dgm:pt>
    <dgm:pt modelId="{E860F64C-2AF4-4297-B5FB-48DA04DE3BE2}" type="sibTrans" cxnId="{CF55A269-1C5B-41B9-A943-8461BA89292E}">
      <dgm:prSet/>
      <dgm:spPr/>
      <dgm:t>
        <a:bodyPr/>
        <a:lstStyle/>
        <a:p>
          <a:endParaRPr lang="ru-RU"/>
        </a:p>
      </dgm:t>
    </dgm:pt>
    <dgm:pt modelId="{1C7453A6-AF6A-4016-B2A5-8A6839B172C0}">
      <dgm:prSet phldrT="[Текст]" custT="1"/>
      <dgm:spPr/>
      <dgm:t>
        <a:bodyPr/>
        <a:lstStyle/>
        <a:p>
          <a:r>
            <a:rPr lang="ru-RU" sz="1000" dirty="0" smtClean="0"/>
            <a:t>Федеральный бюджет</a:t>
          </a:r>
          <a:r>
            <a:rPr lang="ru-RU" sz="1300" dirty="0" smtClean="0"/>
            <a:t> –          </a:t>
          </a:r>
        </a:p>
        <a:p>
          <a:r>
            <a:rPr lang="ru-RU" sz="1300" dirty="0" smtClean="0"/>
            <a:t> </a:t>
          </a:r>
          <a:r>
            <a:rPr lang="ru-RU" sz="1800" b="1" dirty="0" smtClean="0"/>
            <a:t>1 414 млн. руб.</a:t>
          </a:r>
          <a:endParaRPr lang="ru-RU" sz="1800" b="1" dirty="0"/>
        </a:p>
      </dgm:t>
    </dgm:pt>
    <dgm:pt modelId="{F0D0786D-26C7-4135-A2FA-E65E94C2EB25}" type="parTrans" cxnId="{EAB48308-0345-4BB5-A5AF-F0B09B8CDDA6}">
      <dgm:prSet/>
      <dgm:spPr/>
      <dgm:t>
        <a:bodyPr/>
        <a:lstStyle/>
        <a:p>
          <a:endParaRPr lang="ru-RU"/>
        </a:p>
      </dgm:t>
    </dgm:pt>
    <dgm:pt modelId="{155644B3-C14B-4BCF-857F-6876C41F8988}" type="sibTrans" cxnId="{EAB48308-0345-4BB5-A5AF-F0B09B8CDDA6}">
      <dgm:prSet/>
      <dgm:spPr/>
      <dgm:t>
        <a:bodyPr/>
        <a:lstStyle/>
        <a:p>
          <a:endParaRPr lang="ru-RU"/>
        </a:p>
      </dgm:t>
    </dgm:pt>
    <dgm:pt modelId="{ED08CBCD-6BF1-4B62-B043-A03E7E5C302B}">
      <dgm:prSet phldrT="[Текст]" custT="1"/>
      <dgm:spPr/>
      <dgm:t>
        <a:bodyPr/>
        <a:lstStyle/>
        <a:p>
          <a:r>
            <a:rPr lang="ru-RU" sz="1000" dirty="0" smtClean="0"/>
            <a:t>Краевой бюджет </a:t>
          </a:r>
          <a:r>
            <a:rPr lang="ru-RU" sz="1300" dirty="0" smtClean="0"/>
            <a:t>–            </a:t>
          </a:r>
          <a:r>
            <a:rPr lang="ru-RU" sz="1800" b="1" dirty="0" smtClean="0"/>
            <a:t>407 млн. руб.</a:t>
          </a:r>
          <a:endParaRPr lang="ru-RU" sz="1800" b="1" dirty="0"/>
        </a:p>
      </dgm:t>
    </dgm:pt>
    <dgm:pt modelId="{3E889751-3A8A-49A5-8FBF-3F469129FCAE}" type="parTrans" cxnId="{CDFA11E8-EE65-4750-A11B-9ED864B8B927}">
      <dgm:prSet/>
      <dgm:spPr/>
      <dgm:t>
        <a:bodyPr/>
        <a:lstStyle/>
        <a:p>
          <a:endParaRPr lang="ru-RU"/>
        </a:p>
      </dgm:t>
    </dgm:pt>
    <dgm:pt modelId="{4C4ED41D-2662-4941-9332-8D52D6466A89}" type="sibTrans" cxnId="{CDFA11E8-EE65-4750-A11B-9ED864B8B927}">
      <dgm:prSet/>
      <dgm:spPr/>
      <dgm:t>
        <a:bodyPr/>
        <a:lstStyle/>
        <a:p>
          <a:endParaRPr lang="ru-RU"/>
        </a:p>
      </dgm:t>
    </dgm:pt>
    <dgm:pt modelId="{7CAC7D70-41A6-4203-B697-0A816E3ACBB2}">
      <dgm:prSet phldrT="[Текст]"/>
      <dgm:spPr>
        <a:solidFill>
          <a:srgbClr val="FFBCBC"/>
        </a:solidFill>
        <a:ln>
          <a:solidFill>
            <a:srgbClr val="AD0101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ОХРАНА ОКРУЖАЮЩЕЙ СРЕДЫ</a:t>
          </a:r>
          <a:endParaRPr lang="ru-RU" dirty="0">
            <a:solidFill>
              <a:schemeClr val="tx1"/>
            </a:solidFill>
          </a:endParaRPr>
        </a:p>
      </dgm:t>
    </dgm:pt>
    <dgm:pt modelId="{DAD6F34B-3F1D-4558-9150-E6241031962A}" type="parTrans" cxnId="{FDD252F2-24BA-4862-906B-BC95D9E67B82}">
      <dgm:prSet/>
      <dgm:spPr/>
      <dgm:t>
        <a:bodyPr/>
        <a:lstStyle/>
        <a:p>
          <a:endParaRPr lang="ru-RU"/>
        </a:p>
      </dgm:t>
    </dgm:pt>
    <dgm:pt modelId="{8418DC59-C6C4-4D95-9F4E-8721DE8EEC0E}" type="sibTrans" cxnId="{FDD252F2-24BA-4862-906B-BC95D9E67B82}">
      <dgm:prSet/>
      <dgm:spPr/>
      <dgm:t>
        <a:bodyPr/>
        <a:lstStyle/>
        <a:p>
          <a:endParaRPr lang="ru-RU"/>
        </a:p>
      </dgm:t>
    </dgm:pt>
    <dgm:pt modelId="{0FCA7378-C06C-4D4E-8981-AC1FF731223C}">
      <dgm:prSet phldrT="[Текст]" custT="1"/>
      <dgm:spPr/>
      <dgm:t>
        <a:bodyPr/>
        <a:lstStyle/>
        <a:p>
          <a:r>
            <a:rPr lang="ru-RU" sz="1000" dirty="0" smtClean="0"/>
            <a:t>Федеральный бюджет </a:t>
          </a:r>
          <a:r>
            <a:rPr lang="ru-RU" sz="1300" dirty="0" smtClean="0"/>
            <a:t>–       </a:t>
          </a:r>
          <a:r>
            <a:rPr lang="ru-RU" sz="1800" b="1" dirty="0" smtClean="0"/>
            <a:t>237 млн. руб.</a:t>
          </a:r>
          <a:endParaRPr lang="ru-RU" sz="1800" b="1" dirty="0"/>
        </a:p>
      </dgm:t>
    </dgm:pt>
    <dgm:pt modelId="{0828FBCE-7926-4E09-9328-E85AF37E97E1}" type="parTrans" cxnId="{AAC5CE17-4471-45F2-8989-75056933EF6D}">
      <dgm:prSet/>
      <dgm:spPr/>
      <dgm:t>
        <a:bodyPr/>
        <a:lstStyle/>
        <a:p>
          <a:endParaRPr lang="ru-RU"/>
        </a:p>
      </dgm:t>
    </dgm:pt>
    <dgm:pt modelId="{1606D86B-C0CA-4F9F-8D88-FF2FD958AD80}" type="sibTrans" cxnId="{AAC5CE17-4471-45F2-8989-75056933EF6D}">
      <dgm:prSet/>
      <dgm:spPr/>
      <dgm:t>
        <a:bodyPr/>
        <a:lstStyle/>
        <a:p>
          <a:endParaRPr lang="ru-RU"/>
        </a:p>
      </dgm:t>
    </dgm:pt>
    <dgm:pt modelId="{589139F9-C38C-446B-96B7-D36DEB550A4E}">
      <dgm:prSet phldrT="[Текст]"/>
      <dgm:spPr>
        <a:solidFill>
          <a:srgbClr val="FFBCBC"/>
        </a:solidFill>
        <a:ln>
          <a:solidFill>
            <a:srgbClr val="AD0101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ВОСПРОИЗВОДСТВО И ИСПОЛЬЗОВАНИЕ ПРИРОДНЫХ РЕСУРСОВ</a:t>
          </a:r>
        </a:p>
        <a:p>
          <a:endParaRPr lang="ru-RU" dirty="0"/>
        </a:p>
      </dgm:t>
    </dgm:pt>
    <dgm:pt modelId="{75863FF5-EAA7-4F61-A851-0DCDCB61EBB0}" type="parTrans" cxnId="{DA970EEA-8571-4C78-8F2B-C4B9FFD763BC}">
      <dgm:prSet/>
      <dgm:spPr/>
      <dgm:t>
        <a:bodyPr/>
        <a:lstStyle/>
        <a:p>
          <a:endParaRPr lang="ru-RU"/>
        </a:p>
      </dgm:t>
    </dgm:pt>
    <dgm:pt modelId="{BD976976-E555-4101-8CE1-BE8F518E60A7}" type="sibTrans" cxnId="{DA970EEA-8571-4C78-8F2B-C4B9FFD763BC}">
      <dgm:prSet/>
      <dgm:spPr/>
      <dgm:t>
        <a:bodyPr/>
        <a:lstStyle/>
        <a:p>
          <a:endParaRPr lang="ru-RU"/>
        </a:p>
      </dgm:t>
    </dgm:pt>
    <dgm:pt modelId="{6576804F-E2BA-4A32-B46F-363EFD36FCDC}">
      <dgm:prSet phldrT="[Текст]" custT="1"/>
      <dgm:spPr/>
      <dgm:t>
        <a:bodyPr/>
        <a:lstStyle/>
        <a:p>
          <a:r>
            <a:rPr lang="ru-RU" sz="1000" dirty="0" smtClean="0"/>
            <a:t>Федеральный бюджет </a:t>
          </a:r>
          <a:r>
            <a:rPr lang="ru-RU" sz="1300" dirty="0" smtClean="0"/>
            <a:t>–       </a:t>
          </a:r>
          <a:r>
            <a:rPr lang="ru-RU" sz="1800" b="1" dirty="0" smtClean="0"/>
            <a:t>469 млн. руб.</a:t>
          </a:r>
          <a:endParaRPr lang="ru-RU" sz="1800" dirty="0"/>
        </a:p>
      </dgm:t>
    </dgm:pt>
    <dgm:pt modelId="{6EAB0A87-04F9-468D-B454-13AF0A493052}" type="parTrans" cxnId="{3AEE5C74-5E59-40A8-B202-AD41670E528E}">
      <dgm:prSet/>
      <dgm:spPr/>
      <dgm:t>
        <a:bodyPr/>
        <a:lstStyle/>
        <a:p>
          <a:endParaRPr lang="ru-RU"/>
        </a:p>
      </dgm:t>
    </dgm:pt>
    <dgm:pt modelId="{00F32FD1-9446-4C3B-B6A2-E80071A33042}" type="sibTrans" cxnId="{3AEE5C74-5E59-40A8-B202-AD41670E528E}">
      <dgm:prSet/>
      <dgm:spPr/>
      <dgm:t>
        <a:bodyPr/>
        <a:lstStyle/>
        <a:p>
          <a:endParaRPr lang="ru-RU"/>
        </a:p>
      </dgm:t>
    </dgm:pt>
    <dgm:pt modelId="{5DC747DC-5074-46B1-A08A-2859EC0C4451}">
      <dgm:prSet phldrT="[Текст]" custT="1"/>
      <dgm:spPr/>
      <dgm:t>
        <a:bodyPr/>
        <a:lstStyle/>
        <a:p>
          <a:r>
            <a:rPr lang="ru-RU" sz="1000" dirty="0" smtClean="0"/>
            <a:t>Краевой бюджет </a:t>
          </a:r>
          <a:r>
            <a:rPr lang="ru-RU" sz="1300" dirty="0" smtClean="0"/>
            <a:t>–            </a:t>
          </a:r>
          <a:r>
            <a:rPr lang="ru-RU" sz="1800" b="1" dirty="0" smtClean="0"/>
            <a:t>32 млн. руб.</a:t>
          </a:r>
          <a:endParaRPr lang="ru-RU" sz="1800" b="1" dirty="0"/>
        </a:p>
      </dgm:t>
    </dgm:pt>
    <dgm:pt modelId="{7C52234C-CC92-4D04-A999-0588CAE2FC50}" type="parTrans" cxnId="{BD908F9C-0DA6-42DE-A488-F67DCDB65135}">
      <dgm:prSet/>
      <dgm:spPr/>
      <dgm:t>
        <a:bodyPr/>
        <a:lstStyle/>
        <a:p>
          <a:endParaRPr lang="ru-RU"/>
        </a:p>
      </dgm:t>
    </dgm:pt>
    <dgm:pt modelId="{50963427-A31A-4AE2-9288-FA6425873E7A}" type="sibTrans" cxnId="{BD908F9C-0DA6-42DE-A488-F67DCDB65135}">
      <dgm:prSet/>
      <dgm:spPr/>
      <dgm:t>
        <a:bodyPr/>
        <a:lstStyle/>
        <a:p>
          <a:endParaRPr lang="ru-RU"/>
        </a:p>
      </dgm:t>
    </dgm:pt>
    <dgm:pt modelId="{7918B582-82CF-400F-9202-23C2D05B94DA}">
      <dgm:prSet phldrT="[Текст]"/>
      <dgm:spPr>
        <a:solidFill>
          <a:srgbClr val="FFBCBC"/>
        </a:solidFill>
        <a:ln>
          <a:solidFill>
            <a:srgbClr val="AD0101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СОВЕРШЕНСТВОВАНИЕ ГОСУДАРСТВЕННОГО УПРАВЛЕНИЯ</a:t>
          </a:r>
        </a:p>
        <a:p>
          <a:r>
            <a:rPr lang="ru-RU" dirty="0" smtClean="0">
              <a:solidFill>
                <a:schemeClr val="tx1"/>
              </a:solidFill>
            </a:rPr>
            <a:t>ЗАБАЙКАЛЬСКОГО КРАЯ</a:t>
          </a:r>
        </a:p>
        <a:p>
          <a:endParaRPr lang="ru-RU" dirty="0"/>
        </a:p>
      </dgm:t>
    </dgm:pt>
    <dgm:pt modelId="{9BD2A629-6F96-4C28-926A-447E7C7965F4}" type="parTrans" cxnId="{81FC98A8-CB4A-4B59-9DB7-DBB4C9198E88}">
      <dgm:prSet/>
      <dgm:spPr/>
      <dgm:t>
        <a:bodyPr/>
        <a:lstStyle/>
        <a:p>
          <a:endParaRPr lang="ru-RU"/>
        </a:p>
      </dgm:t>
    </dgm:pt>
    <dgm:pt modelId="{C732A9E2-E179-40D2-9D9E-90F0C86BF561}" type="sibTrans" cxnId="{81FC98A8-CB4A-4B59-9DB7-DBB4C9198E88}">
      <dgm:prSet/>
      <dgm:spPr/>
      <dgm:t>
        <a:bodyPr/>
        <a:lstStyle/>
        <a:p>
          <a:endParaRPr lang="ru-RU"/>
        </a:p>
      </dgm:t>
    </dgm:pt>
    <dgm:pt modelId="{BEC4094F-E549-467A-A895-2AC527F7A675}">
      <dgm:prSet phldrT="[Текст]" custT="1"/>
      <dgm:spPr/>
      <dgm:t>
        <a:bodyPr/>
        <a:lstStyle/>
        <a:p>
          <a:r>
            <a:rPr lang="ru-RU" sz="1000" dirty="0" smtClean="0"/>
            <a:t>Краевой бюджет </a:t>
          </a:r>
          <a:r>
            <a:rPr lang="ru-RU" sz="1400" dirty="0" smtClean="0"/>
            <a:t>–            </a:t>
          </a:r>
          <a:r>
            <a:rPr lang="ru-RU" sz="1800" b="1" dirty="0" smtClean="0"/>
            <a:t>0,5 млн. руб.</a:t>
          </a:r>
          <a:endParaRPr lang="ru-RU" sz="1800" b="1" dirty="0"/>
        </a:p>
      </dgm:t>
    </dgm:pt>
    <dgm:pt modelId="{BF579020-F52F-4501-A1AE-6022BCEACC69}" type="parTrans" cxnId="{A29E8D0D-F722-489D-8D26-3A896725D1F6}">
      <dgm:prSet/>
      <dgm:spPr/>
      <dgm:t>
        <a:bodyPr/>
        <a:lstStyle/>
        <a:p>
          <a:endParaRPr lang="ru-RU"/>
        </a:p>
      </dgm:t>
    </dgm:pt>
    <dgm:pt modelId="{43EB91C1-172F-499D-AC92-E5371044F2FD}" type="sibTrans" cxnId="{A29E8D0D-F722-489D-8D26-3A896725D1F6}">
      <dgm:prSet/>
      <dgm:spPr/>
      <dgm:t>
        <a:bodyPr/>
        <a:lstStyle/>
        <a:p>
          <a:endParaRPr lang="ru-RU"/>
        </a:p>
      </dgm:t>
    </dgm:pt>
    <dgm:pt modelId="{2EF8354A-CC87-4F7D-8F0A-0F3A94F8048E}">
      <dgm:prSet phldrT="[Текст]" custT="1"/>
      <dgm:spPr/>
      <dgm:t>
        <a:bodyPr/>
        <a:lstStyle/>
        <a:p>
          <a:r>
            <a:rPr lang="ru-RU" sz="1000" dirty="0" smtClean="0"/>
            <a:t>Краевой бюджет </a:t>
          </a:r>
          <a:r>
            <a:rPr lang="ru-RU" sz="1300" dirty="0" smtClean="0"/>
            <a:t>–            </a:t>
          </a:r>
          <a:r>
            <a:rPr lang="ru-RU" sz="1800" b="1" dirty="0" smtClean="0"/>
            <a:t>212 млн. руб.</a:t>
          </a:r>
          <a:endParaRPr lang="ru-RU" sz="1800" b="1" dirty="0"/>
        </a:p>
      </dgm:t>
    </dgm:pt>
    <dgm:pt modelId="{AAAA4FB8-6EDB-4210-B71B-76361C2ADC30}" type="parTrans" cxnId="{F66D9637-CC2E-4941-8C8B-142BC9E14490}">
      <dgm:prSet/>
      <dgm:spPr/>
      <dgm:t>
        <a:bodyPr/>
        <a:lstStyle/>
        <a:p>
          <a:endParaRPr lang="ru-RU"/>
        </a:p>
      </dgm:t>
    </dgm:pt>
    <dgm:pt modelId="{6B1F4186-26C4-45C0-A224-A50CF18151BA}" type="sibTrans" cxnId="{F66D9637-CC2E-4941-8C8B-142BC9E14490}">
      <dgm:prSet/>
      <dgm:spPr/>
      <dgm:t>
        <a:bodyPr/>
        <a:lstStyle/>
        <a:p>
          <a:endParaRPr lang="ru-RU"/>
        </a:p>
      </dgm:t>
    </dgm:pt>
    <dgm:pt modelId="{4A485BFA-840E-4C0A-B767-E8AE68C83621}" type="pres">
      <dgm:prSet presAssocID="{4F9EFDC7-ADAB-47D2-B51A-0B6B06FA45BA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9917E71-1D24-47E6-A85C-41B540A92B7A}" type="pres">
      <dgm:prSet presAssocID="{472FD68E-3B52-4B02-918B-5B2F9A3AA01F}" presName="root" presStyleCnt="0"/>
      <dgm:spPr/>
    </dgm:pt>
    <dgm:pt modelId="{21BFB143-7C3F-40B4-AF7E-E6B6EF66CEB5}" type="pres">
      <dgm:prSet presAssocID="{472FD68E-3B52-4B02-918B-5B2F9A3AA01F}" presName="rootComposite" presStyleCnt="0"/>
      <dgm:spPr/>
    </dgm:pt>
    <dgm:pt modelId="{BB11668A-E5AB-48BF-9FE7-FD451109A566}" type="pres">
      <dgm:prSet presAssocID="{472FD68E-3B52-4B02-918B-5B2F9A3AA01F}" presName="rootText" presStyleLbl="node1" presStyleIdx="0" presStyleCnt="4" custLinFactNeighborX="714" custLinFactNeighborY="2857"/>
      <dgm:spPr/>
      <dgm:t>
        <a:bodyPr/>
        <a:lstStyle/>
        <a:p>
          <a:endParaRPr lang="ru-RU"/>
        </a:p>
      </dgm:t>
    </dgm:pt>
    <dgm:pt modelId="{E8354181-F997-41FF-AFB8-A8F16BD0C01D}" type="pres">
      <dgm:prSet presAssocID="{472FD68E-3B52-4B02-918B-5B2F9A3AA01F}" presName="rootConnector" presStyleLbl="node1" presStyleIdx="0" presStyleCnt="4"/>
      <dgm:spPr/>
      <dgm:t>
        <a:bodyPr/>
        <a:lstStyle/>
        <a:p>
          <a:endParaRPr lang="ru-RU"/>
        </a:p>
      </dgm:t>
    </dgm:pt>
    <dgm:pt modelId="{A32C1D5F-E8AD-4486-8144-955C8F7BDE93}" type="pres">
      <dgm:prSet presAssocID="{472FD68E-3B52-4B02-918B-5B2F9A3AA01F}" presName="childShape" presStyleCnt="0"/>
      <dgm:spPr/>
    </dgm:pt>
    <dgm:pt modelId="{5AC4BD53-58ED-4439-8998-7D5CCB16A7FB}" type="pres">
      <dgm:prSet presAssocID="{F0D0786D-26C7-4135-A2FA-E65E94C2EB25}" presName="Name13" presStyleLbl="parChTrans1D2" presStyleIdx="0" presStyleCnt="7"/>
      <dgm:spPr/>
      <dgm:t>
        <a:bodyPr/>
        <a:lstStyle/>
        <a:p>
          <a:endParaRPr lang="ru-RU"/>
        </a:p>
      </dgm:t>
    </dgm:pt>
    <dgm:pt modelId="{031F97FB-A905-4859-8B1F-7ED637066D69}" type="pres">
      <dgm:prSet presAssocID="{1C7453A6-AF6A-4016-B2A5-8A6839B172C0}" presName="childText" presStyleLbl="bgAcc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6D961A-A6F8-4B99-BC0C-BC57AECFF909}" type="pres">
      <dgm:prSet presAssocID="{3E889751-3A8A-49A5-8FBF-3F469129FCAE}" presName="Name13" presStyleLbl="parChTrans1D2" presStyleIdx="1" presStyleCnt="7"/>
      <dgm:spPr/>
      <dgm:t>
        <a:bodyPr/>
        <a:lstStyle/>
        <a:p>
          <a:endParaRPr lang="ru-RU"/>
        </a:p>
      </dgm:t>
    </dgm:pt>
    <dgm:pt modelId="{7D3E93AE-5035-4728-89FF-2889F906BEA1}" type="pres">
      <dgm:prSet presAssocID="{ED08CBCD-6BF1-4B62-B043-A03E7E5C302B}" presName="childText" presStyleLbl="bgAcc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C1AFE3-B63D-4986-9EF7-652C34D7C6B8}" type="pres">
      <dgm:prSet presAssocID="{7CAC7D70-41A6-4203-B697-0A816E3ACBB2}" presName="root" presStyleCnt="0"/>
      <dgm:spPr/>
    </dgm:pt>
    <dgm:pt modelId="{FC6B130D-8F9E-442F-A32C-E119C4D1537E}" type="pres">
      <dgm:prSet presAssocID="{7CAC7D70-41A6-4203-B697-0A816E3ACBB2}" presName="rootComposite" presStyleCnt="0"/>
      <dgm:spPr/>
    </dgm:pt>
    <dgm:pt modelId="{01519B02-2094-480F-BBC4-031EA26D1DF6}" type="pres">
      <dgm:prSet presAssocID="{7CAC7D70-41A6-4203-B697-0A816E3ACBB2}" presName="rootText" presStyleLbl="node1" presStyleIdx="1" presStyleCnt="4" custLinFactNeighborX="3832" custLinFactNeighborY="-1533"/>
      <dgm:spPr/>
      <dgm:t>
        <a:bodyPr/>
        <a:lstStyle/>
        <a:p>
          <a:endParaRPr lang="ru-RU"/>
        </a:p>
      </dgm:t>
    </dgm:pt>
    <dgm:pt modelId="{B4C2319B-ACDB-470A-A620-279C5B925351}" type="pres">
      <dgm:prSet presAssocID="{7CAC7D70-41A6-4203-B697-0A816E3ACBB2}" presName="rootConnector" presStyleLbl="node1" presStyleIdx="1" presStyleCnt="4"/>
      <dgm:spPr/>
      <dgm:t>
        <a:bodyPr/>
        <a:lstStyle/>
        <a:p>
          <a:endParaRPr lang="ru-RU"/>
        </a:p>
      </dgm:t>
    </dgm:pt>
    <dgm:pt modelId="{F106A29E-C4C6-42E4-ADD8-E5A79A232863}" type="pres">
      <dgm:prSet presAssocID="{7CAC7D70-41A6-4203-B697-0A816E3ACBB2}" presName="childShape" presStyleCnt="0"/>
      <dgm:spPr/>
    </dgm:pt>
    <dgm:pt modelId="{6EB65128-505B-4867-A7C2-82F7802E5A3C}" type="pres">
      <dgm:prSet presAssocID="{0828FBCE-7926-4E09-9328-E85AF37E97E1}" presName="Name13" presStyleLbl="parChTrans1D2" presStyleIdx="2" presStyleCnt="7"/>
      <dgm:spPr/>
      <dgm:t>
        <a:bodyPr/>
        <a:lstStyle/>
        <a:p>
          <a:endParaRPr lang="ru-RU"/>
        </a:p>
      </dgm:t>
    </dgm:pt>
    <dgm:pt modelId="{1AACFDD8-D1D9-47E2-A17A-EB4E044D2509}" type="pres">
      <dgm:prSet presAssocID="{0FCA7378-C06C-4D4E-8981-AC1FF731223C}" presName="childText" presStyleLbl="bgAcc1" presStyleIdx="2" presStyleCnt="7" custLinFactNeighborX="-958" custLinFactNeighborY="45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5B3AC9-7A87-40F3-9CFD-DF7CEAD53F4D}" type="pres">
      <dgm:prSet presAssocID="{AAAA4FB8-6EDB-4210-B71B-76361C2ADC30}" presName="Name13" presStyleLbl="parChTrans1D2" presStyleIdx="3" presStyleCnt="7"/>
      <dgm:spPr/>
      <dgm:t>
        <a:bodyPr/>
        <a:lstStyle/>
        <a:p>
          <a:endParaRPr lang="ru-RU"/>
        </a:p>
      </dgm:t>
    </dgm:pt>
    <dgm:pt modelId="{1880FF3D-4AA5-4B56-B03C-96B3C814069A}" type="pres">
      <dgm:prSet presAssocID="{2EF8354A-CC87-4F7D-8F0A-0F3A94F8048E}" presName="childText" presStyleLbl="bgAcc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D6439A-6A6C-488D-AFD5-94A9128AB1BE}" type="pres">
      <dgm:prSet presAssocID="{589139F9-C38C-446B-96B7-D36DEB550A4E}" presName="root" presStyleCnt="0"/>
      <dgm:spPr/>
    </dgm:pt>
    <dgm:pt modelId="{F84290D3-AB88-428C-87B6-9C7227D810EA}" type="pres">
      <dgm:prSet presAssocID="{589139F9-C38C-446B-96B7-D36DEB550A4E}" presName="rootComposite" presStyleCnt="0"/>
      <dgm:spPr/>
    </dgm:pt>
    <dgm:pt modelId="{D708B879-B24B-458A-94AB-C74732841AE2}" type="pres">
      <dgm:prSet presAssocID="{589139F9-C38C-446B-96B7-D36DEB550A4E}" presName="rootText" presStyleLbl="node1" presStyleIdx="2" presStyleCnt="4"/>
      <dgm:spPr/>
      <dgm:t>
        <a:bodyPr/>
        <a:lstStyle/>
        <a:p>
          <a:endParaRPr lang="ru-RU"/>
        </a:p>
      </dgm:t>
    </dgm:pt>
    <dgm:pt modelId="{C148D7F2-150C-4547-9275-29C5FB41FF17}" type="pres">
      <dgm:prSet presAssocID="{589139F9-C38C-446B-96B7-D36DEB550A4E}" presName="rootConnector" presStyleLbl="node1" presStyleIdx="2" presStyleCnt="4"/>
      <dgm:spPr/>
      <dgm:t>
        <a:bodyPr/>
        <a:lstStyle/>
        <a:p>
          <a:endParaRPr lang="ru-RU"/>
        </a:p>
      </dgm:t>
    </dgm:pt>
    <dgm:pt modelId="{343C3AAF-513C-43D3-AFC3-FE860FEAD0A7}" type="pres">
      <dgm:prSet presAssocID="{589139F9-C38C-446B-96B7-D36DEB550A4E}" presName="childShape" presStyleCnt="0"/>
      <dgm:spPr/>
    </dgm:pt>
    <dgm:pt modelId="{EB71EF8C-38B8-435B-A52A-9B05BF978763}" type="pres">
      <dgm:prSet presAssocID="{6EAB0A87-04F9-468D-B454-13AF0A493052}" presName="Name13" presStyleLbl="parChTrans1D2" presStyleIdx="4" presStyleCnt="7"/>
      <dgm:spPr/>
      <dgm:t>
        <a:bodyPr/>
        <a:lstStyle/>
        <a:p>
          <a:endParaRPr lang="ru-RU"/>
        </a:p>
      </dgm:t>
    </dgm:pt>
    <dgm:pt modelId="{A2C289A7-6015-48F8-B9B2-F2AEABC30CF4}" type="pres">
      <dgm:prSet presAssocID="{6576804F-E2BA-4A32-B46F-363EFD36FCDC}" presName="childText" presStyleLbl="bgAcc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82A2CB-1E42-4DB3-9B7E-2ABF3C678F3A}" type="pres">
      <dgm:prSet presAssocID="{7C52234C-CC92-4D04-A999-0588CAE2FC50}" presName="Name13" presStyleLbl="parChTrans1D2" presStyleIdx="5" presStyleCnt="7"/>
      <dgm:spPr/>
      <dgm:t>
        <a:bodyPr/>
        <a:lstStyle/>
        <a:p>
          <a:endParaRPr lang="ru-RU"/>
        </a:p>
      </dgm:t>
    </dgm:pt>
    <dgm:pt modelId="{64D902E8-1A2D-43DE-80AB-133823710927}" type="pres">
      <dgm:prSet presAssocID="{5DC747DC-5074-46B1-A08A-2859EC0C4451}" presName="childText" presStyleLbl="bgAcc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628711-0839-40F7-86F7-AE79EF4AC904}" type="pres">
      <dgm:prSet presAssocID="{7918B582-82CF-400F-9202-23C2D05B94DA}" presName="root" presStyleCnt="0"/>
      <dgm:spPr/>
    </dgm:pt>
    <dgm:pt modelId="{0C81C24B-FB90-41A8-B844-83CA3267B95C}" type="pres">
      <dgm:prSet presAssocID="{7918B582-82CF-400F-9202-23C2D05B94DA}" presName="rootComposite" presStyleCnt="0"/>
      <dgm:spPr/>
    </dgm:pt>
    <dgm:pt modelId="{9ACA38D8-9810-46FA-AC86-9E24319F235D}" type="pres">
      <dgm:prSet presAssocID="{7918B582-82CF-400F-9202-23C2D05B94DA}" presName="rootText" presStyleLbl="node1" presStyleIdx="3" presStyleCnt="4" custLinFactNeighborX="714" custLinFactNeighborY="2857"/>
      <dgm:spPr/>
      <dgm:t>
        <a:bodyPr/>
        <a:lstStyle/>
        <a:p>
          <a:endParaRPr lang="ru-RU"/>
        </a:p>
      </dgm:t>
    </dgm:pt>
    <dgm:pt modelId="{7F31D2C6-DBF7-452C-B546-FD98BE1A6990}" type="pres">
      <dgm:prSet presAssocID="{7918B582-82CF-400F-9202-23C2D05B94DA}" presName="rootConnector" presStyleLbl="node1" presStyleIdx="3" presStyleCnt="4"/>
      <dgm:spPr/>
      <dgm:t>
        <a:bodyPr/>
        <a:lstStyle/>
        <a:p>
          <a:endParaRPr lang="ru-RU"/>
        </a:p>
      </dgm:t>
    </dgm:pt>
    <dgm:pt modelId="{DD95669A-C9A9-48C8-B0EE-B0F022461D9F}" type="pres">
      <dgm:prSet presAssocID="{7918B582-82CF-400F-9202-23C2D05B94DA}" presName="childShape" presStyleCnt="0"/>
      <dgm:spPr/>
    </dgm:pt>
    <dgm:pt modelId="{4F55ADD8-5412-4AA5-B448-8AF6C195410F}" type="pres">
      <dgm:prSet presAssocID="{BF579020-F52F-4501-A1AE-6022BCEACC69}" presName="Name13" presStyleLbl="parChTrans1D2" presStyleIdx="6" presStyleCnt="7"/>
      <dgm:spPr/>
      <dgm:t>
        <a:bodyPr/>
        <a:lstStyle/>
        <a:p>
          <a:endParaRPr lang="ru-RU"/>
        </a:p>
      </dgm:t>
    </dgm:pt>
    <dgm:pt modelId="{23A83EB1-2BB8-4E65-AF86-ED46F3CABC4C}" type="pres">
      <dgm:prSet presAssocID="{BEC4094F-E549-467A-A895-2AC527F7A675}" presName="childText" presStyleLbl="bgAcc1" presStyleIdx="6" presStyleCnt="7" custScaleX="99340" custLinFactNeighborX="-3765" custLinFactNeighborY="21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F55A269-1C5B-41B9-A943-8461BA89292E}" srcId="{4F9EFDC7-ADAB-47D2-B51A-0B6B06FA45BA}" destId="{472FD68E-3B52-4B02-918B-5B2F9A3AA01F}" srcOrd="0" destOrd="0" parTransId="{D3EC36A2-951D-4EB2-B577-678C44B4C320}" sibTransId="{E860F64C-2AF4-4297-B5FB-48DA04DE3BE2}"/>
    <dgm:cxn modelId="{A7E9315E-36B2-42BF-8931-B81E8ED199EA}" type="presOf" srcId="{7CAC7D70-41A6-4203-B697-0A816E3ACBB2}" destId="{01519B02-2094-480F-BBC4-031EA26D1DF6}" srcOrd="0" destOrd="0" presId="urn:microsoft.com/office/officeart/2005/8/layout/hierarchy3"/>
    <dgm:cxn modelId="{959572AC-F204-4082-A24A-847FCB81F7A5}" type="presOf" srcId="{F0D0786D-26C7-4135-A2FA-E65E94C2EB25}" destId="{5AC4BD53-58ED-4439-8998-7D5CCB16A7FB}" srcOrd="0" destOrd="0" presId="urn:microsoft.com/office/officeart/2005/8/layout/hierarchy3"/>
    <dgm:cxn modelId="{BD88BA86-FC97-4DFC-9683-357CF656FB07}" type="presOf" srcId="{7918B582-82CF-400F-9202-23C2D05B94DA}" destId="{7F31D2C6-DBF7-452C-B546-FD98BE1A6990}" srcOrd="1" destOrd="0" presId="urn:microsoft.com/office/officeart/2005/8/layout/hierarchy3"/>
    <dgm:cxn modelId="{5C9A2CE8-B236-4F3F-990C-37EB94675C87}" type="presOf" srcId="{472FD68E-3B52-4B02-918B-5B2F9A3AA01F}" destId="{BB11668A-E5AB-48BF-9FE7-FD451109A566}" srcOrd="0" destOrd="0" presId="urn:microsoft.com/office/officeart/2005/8/layout/hierarchy3"/>
    <dgm:cxn modelId="{F628FD19-9746-4D72-8F81-3B26D1E655A7}" type="presOf" srcId="{3E889751-3A8A-49A5-8FBF-3F469129FCAE}" destId="{AB6D961A-A6F8-4B99-BC0C-BC57AECFF909}" srcOrd="0" destOrd="0" presId="urn:microsoft.com/office/officeart/2005/8/layout/hierarchy3"/>
    <dgm:cxn modelId="{48094A0D-7F9D-42BE-BD1E-A77F798E5B5A}" type="presOf" srcId="{BF579020-F52F-4501-A1AE-6022BCEACC69}" destId="{4F55ADD8-5412-4AA5-B448-8AF6C195410F}" srcOrd="0" destOrd="0" presId="urn:microsoft.com/office/officeart/2005/8/layout/hierarchy3"/>
    <dgm:cxn modelId="{A41C7DDF-8813-482E-B77F-C778C6360019}" type="presOf" srcId="{589139F9-C38C-446B-96B7-D36DEB550A4E}" destId="{C148D7F2-150C-4547-9275-29C5FB41FF17}" srcOrd="1" destOrd="0" presId="urn:microsoft.com/office/officeart/2005/8/layout/hierarchy3"/>
    <dgm:cxn modelId="{EAB48308-0345-4BB5-A5AF-F0B09B8CDDA6}" srcId="{472FD68E-3B52-4B02-918B-5B2F9A3AA01F}" destId="{1C7453A6-AF6A-4016-B2A5-8A6839B172C0}" srcOrd="0" destOrd="0" parTransId="{F0D0786D-26C7-4135-A2FA-E65E94C2EB25}" sibTransId="{155644B3-C14B-4BCF-857F-6876C41F8988}"/>
    <dgm:cxn modelId="{434A8E03-8B8A-4FF2-BBEB-C3C4A5221A70}" type="presOf" srcId="{BEC4094F-E549-467A-A895-2AC527F7A675}" destId="{23A83EB1-2BB8-4E65-AF86-ED46F3CABC4C}" srcOrd="0" destOrd="0" presId="urn:microsoft.com/office/officeart/2005/8/layout/hierarchy3"/>
    <dgm:cxn modelId="{BD908F9C-0DA6-42DE-A488-F67DCDB65135}" srcId="{589139F9-C38C-446B-96B7-D36DEB550A4E}" destId="{5DC747DC-5074-46B1-A08A-2859EC0C4451}" srcOrd="1" destOrd="0" parTransId="{7C52234C-CC92-4D04-A999-0588CAE2FC50}" sibTransId="{50963427-A31A-4AE2-9288-FA6425873E7A}"/>
    <dgm:cxn modelId="{19B2F458-765B-4150-BC39-13C55EEA6E6B}" type="presOf" srcId="{2EF8354A-CC87-4F7D-8F0A-0F3A94F8048E}" destId="{1880FF3D-4AA5-4B56-B03C-96B3C814069A}" srcOrd="0" destOrd="0" presId="urn:microsoft.com/office/officeart/2005/8/layout/hierarchy3"/>
    <dgm:cxn modelId="{532F0C50-ECCC-4E24-9656-F932C843AC4C}" type="presOf" srcId="{7C52234C-CC92-4D04-A999-0588CAE2FC50}" destId="{0C82A2CB-1E42-4DB3-9B7E-2ABF3C678F3A}" srcOrd="0" destOrd="0" presId="urn:microsoft.com/office/officeart/2005/8/layout/hierarchy3"/>
    <dgm:cxn modelId="{5276E7B6-E1E2-42B2-94D7-1CE9B364CCD8}" type="presOf" srcId="{7918B582-82CF-400F-9202-23C2D05B94DA}" destId="{9ACA38D8-9810-46FA-AC86-9E24319F235D}" srcOrd="0" destOrd="0" presId="urn:microsoft.com/office/officeart/2005/8/layout/hierarchy3"/>
    <dgm:cxn modelId="{15E4C11F-CCA5-4DB8-9460-B888B375A16A}" type="presOf" srcId="{1C7453A6-AF6A-4016-B2A5-8A6839B172C0}" destId="{031F97FB-A905-4859-8B1F-7ED637066D69}" srcOrd="0" destOrd="0" presId="urn:microsoft.com/office/officeart/2005/8/layout/hierarchy3"/>
    <dgm:cxn modelId="{CE7EBB13-B03A-4F27-A78B-E7A51619CE9B}" type="presOf" srcId="{7CAC7D70-41A6-4203-B697-0A816E3ACBB2}" destId="{B4C2319B-ACDB-470A-A620-279C5B925351}" srcOrd="1" destOrd="0" presId="urn:microsoft.com/office/officeart/2005/8/layout/hierarchy3"/>
    <dgm:cxn modelId="{F66D9637-CC2E-4941-8C8B-142BC9E14490}" srcId="{7CAC7D70-41A6-4203-B697-0A816E3ACBB2}" destId="{2EF8354A-CC87-4F7D-8F0A-0F3A94F8048E}" srcOrd="1" destOrd="0" parTransId="{AAAA4FB8-6EDB-4210-B71B-76361C2ADC30}" sibTransId="{6B1F4186-26C4-45C0-A224-A50CF18151BA}"/>
    <dgm:cxn modelId="{8AA517A9-8923-4A7C-BAE1-C239ED0A65BF}" type="presOf" srcId="{472FD68E-3B52-4B02-918B-5B2F9A3AA01F}" destId="{E8354181-F997-41FF-AFB8-A8F16BD0C01D}" srcOrd="1" destOrd="0" presId="urn:microsoft.com/office/officeart/2005/8/layout/hierarchy3"/>
    <dgm:cxn modelId="{FDD252F2-24BA-4862-906B-BC95D9E67B82}" srcId="{4F9EFDC7-ADAB-47D2-B51A-0B6B06FA45BA}" destId="{7CAC7D70-41A6-4203-B697-0A816E3ACBB2}" srcOrd="1" destOrd="0" parTransId="{DAD6F34B-3F1D-4558-9150-E6241031962A}" sibTransId="{8418DC59-C6C4-4D95-9F4E-8721DE8EEC0E}"/>
    <dgm:cxn modelId="{F8F65764-2B80-49DB-9910-49CB5E322CA8}" type="presOf" srcId="{0FCA7378-C06C-4D4E-8981-AC1FF731223C}" destId="{1AACFDD8-D1D9-47E2-A17A-EB4E044D2509}" srcOrd="0" destOrd="0" presId="urn:microsoft.com/office/officeart/2005/8/layout/hierarchy3"/>
    <dgm:cxn modelId="{0279C185-947D-4416-8A46-4CB7122A2372}" type="presOf" srcId="{4F9EFDC7-ADAB-47D2-B51A-0B6B06FA45BA}" destId="{4A485BFA-840E-4C0A-B767-E8AE68C83621}" srcOrd="0" destOrd="0" presId="urn:microsoft.com/office/officeart/2005/8/layout/hierarchy3"/>
    <dgm:cxn modelId="{CDFA11E8-EE65-4750-A11B-9ED864B8B927}" srcId="{472FD68E-3B52-4B02-918B-5B2F9A3AA01F}" destId="{ED08CBCD-6BF1-4B62-B043-A03E7E5C302B}" srcOrd="1" destOrd="0" parTransId="{3E889751-3A8A-49A5-8FBF-3F469129FCAE}" sibTransId="{4C4ED41D-2662-4941-9332-8D52D6466A89}"/>
    <dgm:cxn modelId="{51618E31-A809-42AA-8B32-BFC261EE0ED7}" type="presOf" srcId="{ED08CBCD-6BF1-4B62-B043-A03E7E5C302B}" destId="{7D3E93AE-5035-4728-89FF-2889F906BEA1}" srcOrd="0" destOrd="0" presId="urn:microsoft.com/office/officeart/2005/8/layout/hierarchy3"/>
    <dgm:cxn modelId="{CE277FE5-E4D8-4852-8552-E2827E9756D4}" type="presOf" srcId="{6EAB0A87-04F9-468D-B454-13AF0A493052}" destId="{EB71EF8C-38B8-435B-A52A-9B05BF978763}" srcOrd="0" destOrd="0" presId="urn:microsoft.com/office/officeart/2005/8/layout/hierarchy3"/>
    <dgm:cxn modelId="{B4100F01-E3C5-43D6-AE5D-68122B6ABA24}" type="presOf" srcId="{6576804F-E2BA-4A32-B46F-363EFD36FCDC}" destId="{A2C289A7-6015-48F8-B9B2-F2AEABC30CF4}" srcOrd="0" destOrd="0" presId="urn:microsoft.com/office/officeart/2005/8/layout/hierarchy3"/>
    <dgm:cxn modelId="{8621FB6F-6423-48A5-8A7E-B2EC53CD7BB8}" type="presOf" srcId="{5DC747DC-5074-46B1-A08A-2859EC0C4451}" destId="{64D902E8-1A2D-43DE-80AB-133823710927}" srcOrd="0" destOrd="0" presId="urn:microsoft.com/office/officeart/2005/8/layout/hierarchy3"/>
    <dgm:cxn modelId="{DA970EEA-8571-4C78-8F2B-C4B9FFD763BC}" srcId="{4F9EFDC7-ADAB-47D2-B51A-0B6B06FA45BA}" destId="{589139F9-C38C-446B-96B7-D36DEB550A4E}" srcOrd="2" destOrd="0" parTransId="{75863FF5-EAA7-4F61-A851-0DCDCB61EBB0}" sibTransId="{BD976976-E555-4101-8CE1-BE8F518E60A7}"/>
    <dgm:cxn modelId="{3AEE5C74-5E59-40A8-B202-AD41670E528E}" srcId="{589139F9-C38C-446B-96B7-D36DEB550A4E}" destId="{6576804F-E2BA-4A32-B46F-363EFD36FCDC}" srcOrd="0" destOrd="0" parTransId="{6EAB0A87-04F9-468D-B454-13AF0A493052}" sibTransId="{00F32FD1-9446-4C3B-B6A2-E80071A33042}"/>
    <dgm:cxn modelId="{AAC5CE17-4471-45F2-8989-75056933EF6D}" srcId="{7CAC7D70-41A6-4203-B697-0A816E3ACBB2}" destId="{0FCA7378-C06C-4D4E-8981-AC1FF731223C}" srcOrd="0" destOrd="0" parTransId="{0828FBCE-7926-4E09-9328-E85AF37E97E1}" sibTransId="{1606D86B-C0CA-4F9F-8D88-FF2FD958AD80}"/>
    <dgm:cxn modelId="{81FC98A8-CB4A-4B59-9DB7-DBB4C9198E88}" srcId="{4F9EFDC7-ADAB-47D2-B51A-0B6B06FA45BA}" destId="{7918B582-82CF-400F-9202-23C2D05B94DA}" srcOrd="3" destOrd="0" parTransId="{9BD2A629-6F96-4C28-926A-447E7C7965F4}" sibTransId="{C732A9E2-E179-40D2-9D9E-90F0C86BF561}"/>
    <dgm:cxn modelId="{56FF2E98-FABD-463F-801C-64345EF49037}" type="presOf" srcId="{0828FBCE-7926-4E09-9328-E85AF37E97E1}" destId="{6EB65128-505B-4867-A7C2-82F7802E5A3C}" srcOrd="0" destOrd="0" presId="urn:microsoft.com/office/officeart/2005/8/layout/hierarchy3"/>
    <dgm:cxn modelId="{9B8D3EE9-1F65-4018-A745-050F28441AA8}" type="presOf" srcId="{589139F9-C38C-446B-96B7-D36DEB550A4E}" destId="{D708B879-B24B-458A-94AB-C74732841AE2}" srcOrd="0" destOrd="0" presId="urn:microsoft.com/office/officeart/2005/8/layout/hierarchy3"/>
    <dgm:cxn modelId="{A29E8D0D-F722-489D-8D26-3A896725D1F6}" srcId="{7918B582-82CF-400F-9202-23C2D05B94DA}" destId="{BEC4094F-E549-467A-A895-2AC527F7A675}" srcOrd="0" destOrd="0" parTransId="{BF579020-F52F-4501-A1AE-6022BCEACC69}" sibTransId="{43EB91C1-172F-499D-AC92-E5371044F2FD}"/>
    <dgm:cxn modelId="{457632AE-E4EB-4F21-B1F9-B2F8699495A3}" type="presOf" srcId="{AAAA4FB8-6EDB-4210-B71B-76361C2ADC30}" destId="{DB5B3AC9-7A87-40F3-9CFD-DF7CEAD53F4D}" srcOrd="0" destOrd="0" presId="urn:microsoft.com/office/officeart/2005/8/layout/hierarchy3"/>
    <dgm:cxn modelId="{04D3062C-C457-429C-82FC-E3CA470FE262}" type="presParOf" srcId="{4A485BFA-840E-4C0A-B767-E8AE68C83621}" destId="{C9917E71-1D24-47E6-A85C-41B540A92B7A}" srcOrd="0" destOrd="0" presId="urn:microsoft.com/office/officeart/2005/8/layout/hierarchy3"/>
    <dgm:cxn modelId="{5830FF8F-D26D-4502-A15D-DFEB765081FD}" type="presParOf" srcId="{C9917E71-1D24-47E6-A85C-41B540A92B7A}" destId="{21BFB143-7C3F-40B4-AF7E-E6B6EF66CEB5}" srcOrd="0" destOrd="0" presId="urn:microsoft.com/office/officeart/2005/8/layout/hierarchy3"/>
    <dgm:cxn modelId="{9F3BDDF4-91C0-40A9-AE6C-E500C4A5E9F3}" type="presParOf" srcId="{21BFB143-7C3F-40B4-AF7E-E6B6EF66CEB5}" destId="{BB11668A-E5AB-48BF-9FE7-FD451109A566}" srcOrd="0" destOrd="0" presId="urn:microsoft.com/office/officeart/2005/8/layout/hierarchy3"/>
    <dgm:cxn modelId="{86DEA63E-4A19-41EA-BA52-6FCE2A3B8491}" type="presParOf" srcId="{21BFB143-7C3F-40B4-AF7E-E6B6EF66CEB5}" destId="{E8354181-F997-41FF-AFB8-A8F16BD0C01D}" srcOrd="1" destOrd="0" presId="urn:microsoft.com/office/officeart/2005/8/layout/hierarchy3"/>
    <dgm:cxn modelId="{5C5F1DC5-BF8B-4B53-8B03-130C7A124EA7}" type="presParOf" srcId="{C9917E71-1D24-47E6-A85C-41B540A92B7A}" destId="{A32C1D5F-E8AD-4486-8144-955C8F7BDE93}" srcOrd="1" destOrd="0" presId="urn:microsoft.com/office/officeart/2005/8/layout/hierarchy3"/>
    <dgm:cxn modelId="{4B4DA227-3B15-4B25-A528-E6348573D4D2}" type="presParOf" srcId="{A32C1D5F-E8AD-4486-8144-955C8F7BDE93}" destId="{5AC4BD53-58ED-4439-8998-7D5CCB16A7FB}" srcOrd="0" destOrd="0" presId="urn:microsoft.com/office/officeart/2005/8/layout/hierarchy3"/>
    <dgm:cxn modelId="{691E79D5-3E7B-4D16-8559-A1CC96AB8533}" type="presParOf" srcId="{A32C1D5F-E8AD-4486-8144-955C8F7BDE93}" destId="{031F97FB-A905-4859-8B1F-7ED637066D69}" srcOrd="1" destOrd="0" presId="urn:microsoft.com/office/officeart/2005/8/layout/hierarchy3"/>
    <dgm:cxn modelId="{7EF167E7-077C-403F-A900-118E0AD05B23}" type="presParOf" srcId="{A32C1D5F-E8AD-4486-8144-955C8F7BDE93}" destId="{AB6D961A-A6F8-4B99-BC0C-BC57AECFF909}" srcOrd="2" destOrd="0" presId="urn:microsoft.com/office/officeart/2005/8/layout/hierarchy3"/>
    <dgm:cxn modelId="{FD862092-1CC7-43B7-AB57-B1F9CF9A8410}" type="presParOf" srcId="{A32C1D5F-E8AD-4486-8144-955C8F7BDE93}" destId="{7D3E93AE-5035-4728-89FF-2889F906BEA1}" srcOrd="3" destOrd="0" presId="urn:microsoft.com/office/officeart/2005/8/layout/hierarchy3"/>
    <dgm:cxn modelId="{87ABA1F4-BD39-46CB-A0A0-210900689705}" type="presParOf" srcId="{4A485BFA-840E-4C0A-B767-E8AE68C83621}" destId="{DDC1AFE3-B63D-4986-9EF7-652C34D7C6B8}" srcOrd="1" destOrd="0" presId="urn:microsoft.com/office/officeart/2005/8/layout/hierarchy3"/>
    <dgm:cxn modelId="{411FB07F-7004-4A0A-8430-643E3AD32DE2}" type="presParOf" srcId="{DDC1AFE3-B63D-4986-9EF7-652C34D7C6B8}" destId="{FC6B130D-8F9E-442F-A32C-E119C4D1537E}" srcOrd="0" destOrd="0" presId="urn:microsoft.com/office/officeart/2005/8/layout/hierarchy3"/>
    <dgm:cxn modelId="{68B547D3-62B0-4C60-881E-5A4A2ED39692}" type="presParOf" srcId="{FC6B130D-8F9E-442F-A32C-E119C4D1537E}" destId="{01519B02-2094-480F-BBC4-031EA26D1DF6}" srcOrd="0" destOrd="0" presId="urn:microsoft.com/office/officeart/2005/8/layout/hierarchy3"/>
    <dgm:cxn modelId="{97E25354-3EDA-42BD-87A5-FBD1DF3F63DD}" type="presParOf" srcId="{FC6B130D-8F9E-442F-A32C-E119C4D1537E}" destId="{B4C2319B-ACDB-470A-A620-279C5B925351}" srcOrd="1" destOrd="0" presId="urn:microsoft.com/office/officeart/2005/8/layout/hierarchy3"/>
    <dgm:cxn modelId="{AF2DCBAB-F5EB-4997-95AB-3C9138062C63}" type="presParOf" srcId="{DDC1AFE3-B63D-4986-9EF7-652C34D7C6B8}" destId="{F106A29E-C4C6-42E4-ADD8-E5A79A232863}" srcOrd="1" destOrd="0" presId="urn:microsoft.com/office/officeart/2005/8/layout/hierarchy3"/>
    <dgm:cxn modelId="{AC10D134-218A-4654-B899-71C90AC8245E}" type="presParOf" srcId="{F106A29E-C4C6-42E4-ADD8-E5A79A232863}" destId="{6EB65128-505B-4867-A7C2-82F7802E5A3C}" srcOrd="0" destOrd="0" presId="urn:microsoft.com/office/officeart/2005/8/layout/hierarchy3"/>
    <dgm:cxn modelId="{CA664EF6-2A4E-4476-8B89-8C369E7C581B}" type="presParOf" srcId="{F106A29E-C4C6-42E4-ADD8-E5A79A232863}" destId="{1AACFDD8-D1D9-47E2-A17A-EB4E044D2509}" srcOrd="1" destOrd="0" presId="urn:microsoft.com/office/officeart/2005/8/layout/hierarchy3"/>
    <dgm:cxn modelId="{91E41437-AAC7-4236-9CEE-1BAF21BA72C1}" type="presParOf" srcId="{F106A29E-C4C6-42E4-ADD8-E5A79A232863}" destId="{DB5B3AC9-7A87-40F3-9CFD-DF7CEAD53F4D}" srcOrd="2" destOrd="0" presId="urn:microsoft.com/office/officeart/2005/8/layout/hierarchy3"/>
    <dgm:cxn modelId="{D9C17655-21F8-4056-AD74-EDF867FD1C15}" type="presParOf" srcId="{F106A29E-C4C6-42E4-ADD8-E5A79A232863}" destId="{1880FF3D-4AA5-4B56-B03C-96B3C814069A}" srcOrd="3" destOrd="0" presId="urn:microsoft.com/office/officeart/2005/8/layout/hierarchy3"/>
    <dgm:cxn modelId="{A97E4B04-5A44-4344-9D04-925DF95F468B}" type="presParOf" srcId="{4A485BFA-840E-4C0A-B767-E8AE68C83621}" destId="{50D6439A-6A6C-488D-AFD5-94A9128AB1BE}" srcOrd="2" destOrd="0" presId="urn:microsoft.com/office/officeart/2005/8/layout/hierarchy3"/>
    <dgm:cxn modelId="{F4DADD0E-F5DD-4B88-84EC-E3496788EF88}" type="presParOf" srcId="{50D6439A-6A6C-488D-AFD5-94A9128AB1BE}" destId="{F84290D3-AB88-428C-87B6-9C7227D810EA}" srcOrd="0" destOrd="0" presId="urn:microsoft.com/office/officeart/2005/8/layout/hierarchy3"/>
    <dgm:cxn modelId="{AEFBFE96-BA15-475D-93A7-9F98580329C1}" type="presParOf" srcId="{F84290D3-AB88-428C-87B6-9C7227D810EA}" destId="{D708B879-B24B-458A-94AB-C74732841AE2}" srcOrd="0" destOrd="0" presId="urn:microsoft.com/office/officeart/2005/8/layout/hierarchy3"/>
    <dgm:cxn modelId="{0E6E068B-313B-4B4A-A6A3-18995F377089}" type="presParOf" srcId="{F84290D3-AB88-428C-87B6-9C7227D810EA}" destId="{C148D7F2-150C-4547-9275-29C5FB41FF17}" srcOrd="1" destOrd="0" presId="urn:microsoft.com/office/officeart/2005/8/layout/hierarchy3"/>
    <dgm:cxn modelId="{B1F361F0-4152-4C86-837A-7A9C1FBA7A05}" type="presParOf" srcId="{50D6439A-6A6C-488D-AFD5-94A9128AB1BE}" destId="{343C3AAF-513C-43D3-AFC3-FE860FEAD0A7}" srcOrd="1" destOrd="0" presId="urn:microsoft.com/office/officeart/2005/8/layout/hierarchy3"/>
    <dgm:cxn modelId="{075D0ABF-830D-4B0C-9883-D0843DEFAC26}" type="presParOf" srcId="{343C3AAF-513C-43D3-AFC3-FE860FEAD0A7}" destId="{EB71EF8C-38B8-435B-A52A-9B05BF978763}" srcOrd="0" destOrd="0" presId="urn:microsoft.com/office/officeart/2005/8/layout/hierarchy3"/>
    <dgm:cxn modelId="{F232CD42-7143-4432-A3C7-2B93558060FF}" type="presParOf" srcId="{343C3AAF-513C-43D3-AFC3-FE860FEAD0A7}" destId="{A2C289A7-6015-48F8-B9B2-F2AEABC30CF4}" srcOrd="1" destOrd="0" presId="urn:microsoft.com/office/officeart/2005/8/layout/hierarchy3"/>
    <dgm:cxn modelId="{419C6CBD-2B3B-4905-AF89-490617A5A286}" type="presParOf" srcId="{343C3AAF-513C-43D3-AFC3-FE860FEAD0A7}" destId="{0C82A2CB-1E42-4DB3-9B7E-2ABF3C678F3A}" srcOrd="2" destOrd="0" presId="urn:microsoft.com/office/officeart/2005/8/layout/hierarchy3"/>
    <dgm:cxn modelId="{D9A94E2E-4F3E-47B2-B702-1C4839944B56}" type="presParOf" srcId="{343C3AAF-513C-43D3-AFC3-FE860FEAD0A7}" destId="{64D902E8-1A2D-43DE-80AB-133823710927}" srcOrd="3" destOrd="0" presId="urn:microsoft.com/office/officeart/2005/8/layout/hierarchy3"/>
    <dgm:cxn modelId="{FDEB2DB5-0900-4FD3-B1D4-92999FD2BFF7}" type="presParOf" srcId="{4A485BFA-840E-4C0A-B767-E8AE68C83621}" destId="{AB628711-0839-40F7-86F7-AE79EF4AC904}" srcOrd="3" destOrd="0" presId="urn:microsoft.com/office/officeart/2005/8/layout/hierarchy3"/>
    <dgm:cxn modelId="{8C45C8DA-EFEA-489E-8613-520EF7EAE68C}" type="presParOf" srcId="{AB628711-0839-40F7-86F7-AE79EF4AC904}" destId="{0C81C24B-FB90-41A8-B844-83CA3267B95C}" srcOrd="0" destOrd="0" presId="urn:microsoft.com/office/officeart/2005/8/layout/hierarchy3"/>
    <dgm:cxn modelId="{83F04D6E-4B59-476C-BD02-0C5FAAEE1910}" type="presParOf" srcId="{0C81C24B-FB90-41A8-B844-83CA3267B95C}" destId="{9ACA38D8-9810-46FA-AC86-9E24319F235D}" srcOrd="0" destOrd="0" presId="urn:microsoft.com/office/officeart/2005/8/layout/hierarchy3"/>
    <dgm:cxn modelId="{22AC54E4-673E-4DDE-9A08-DB8F733B49B5}" type="presParOf" srcId="{0C81C24B-FB90-41A8-B844-83CA3267B95C}" destId="{7F31D2C6-DBF7-452C-B546-FD98BE1A6990}" srcOrd="1" destOrd="0" presId="urn:microsoft.com/office/officeart/2005/8/layout/hierarchy3"/>
    <dgm:cxn modelId="{D50F90CA-2300-4CE6-BCFA-741DE1760F4A}" type="presParOf" srcId="{AB628711-0839-40F7-86F7-AE79EF4AC904}" destId="{DD95669A-C9A9-48C8-B0EE-B0F022461D9F}" srcOrd="1" destOrd="0" presId="urn:microsoft.com/office/officeart/2005/8/layout/hierarchy3"/>
    <dgm:cxn modelId="{E926E48F-33C6-4993-ADB3-068B6A4F23C0}" type="presParOf" srcId="{DD95669A-C9A9-48C8-B0EE-B0F022461D9F}" destId="{4F55ADD8-5412-4AA5-B448-8AF6C195410F}" srcOrd="0" destOrd="0" presId="urn:microsoft.com/office/officeart/2005/8/layout/hierarchy3"/>
    <dgm:cxn modelId="{605EA0FA-33CD-4D49-B9D8-54EE186DEB8E}" type="presParOf" srcId="{DD95669A-C9A9-48C8-B0EE-B0F022461D9F}" destId="{23A83EB1-2BB8-4E65-AF86-ED46F3CABC4C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44B87DC-AA41-4396-B959-3F768C669329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BF53096-BAD2-4AFB-90E7-293BBCB334FB}">
      <dgm:prSet phldrT="[Текст]" custT="1"/>
      <dgm:spPr/>
      <dgm:t>
        <a:bodyPr/>
        <a:lstStyle/>
        <a:p>
          <a:r>
            <a:rPr lang="ru-RU" sz="1600" b="1" dirty="0" smtClean="0"/>
            <a:t>Источники финансирования федерального бюджета</a:t>
          </a:r>
          <a:endParaRPr lang="ru-RU" sz="1600" b="1" dirty="0"/>
        </a:p>
      </dgm:t>
    </dgm:pt>
    <dgm:pt modelId="{19AA719E-19EE-43A6-BB41-EEC5BC3D1B2C}" type="parTrans" cxnId="{C2A5B253-C1DB-4416-9F6D-BD2A4BAD9D69}">
      <dgm:prSet/>
      <dgm:spPr/>
      <dgm:t>
        <a:bodyPr/>
        <a:lstStyle/>
        <a:p>
          <a:endParaRPr lang="ru-RU"/>
        </a:p>
      </dgm:t>
    </dgm:pt>
    <dgm:pt modelId="{A5C78D7A-8CBC-4A9E-9511-ED33D45A9990}" type="sibTrans" cxnId="{C2A5B253-C1DB-4416-9F6D-BD2A4BAD9D69}">
      <dgm:prSet/>
      <dgm:spPr/>
      <dgm:t>
        <a:bodyPr/>
        <a:lstStyle/>
        <a:p>
          <a:endParaRPr lang="ru-RU"/>
        </a:p>
      </dgm:t>
    </dgm:pt>
    <dgm:pt modelId="{693E5612-5F2D-409B-9837-8C81732FBB6F}">
      <dgm:prSet phldrT="[Текст]"/>
      <dgm:spPr/>
      <dgm:t>
        <a:bodyPr/>
        <a:lstStyle/>
        <a:p>
          <a:r>
            <a:rPr lang="ru-RU" dirty="0" smtClean="0">
              <a:latin typeface="+mn-lt"/>
              <a:cs typeface="Arial" panose="020B0604020202020204" pitchFamily="34" charset="0"/>
            </a:rPr>
            <a:t>Субвенция на исполнение переданных Российской Федерацией полномочий в области лесных отношений </a:t>
          </a:r>
          <a:endParaRPr lang="ru-RU" dirty="0">
            <a:latin typeface="+mn-lt"/>
            <a:cs typeface="Arial" panose="020B0604020202020204" pitchFamily="34" charset="0"/>
          </a:endParaRPr>
        </a:p>
      </dgm:t>
    </dgm:pt>
    <dgm:pt modelId="{D90555BD-8091-4CD1-8AA9-2ECFA8D4A7FD}" type="parTrans" cxnId="{D649B498-EA12-44D0-93A1-C5D26B9AC62E}">
      <dgm:prSet/>
      <dgm:spPr/>
      <dgm:t>
        <a:bodyPr/>
        <a:lstStyle/>
        <a:p>
          <a:endParaRPr lang="ru-RU"/>
        </a:p>
      </dgm:t>
    </dgm:pt>
    <dgm:pt modelId="{C90D005C-2D9A-4E70-BAD5-D38E1572A51D}" type="sibTrans" cxnId="{D649B498-EA12-44D0-93A1-C5D26B9AC62E}">
      <dgm:prSet/>
      <dgm:spPr/>
      <dgm:t>
        <a:bodyPr/>
        <a:lstStyle/>
        <a:p>
          <a:endParaRPr lang="ru-RU"/>
        </a:p>
      </dgm:t>
    </dgm:pt>
    <dgm:pt modelId="{A746D43B-04F8-44BE-B76E-DD99AC5623D5}">
      <dgm:prSet phldrT="[Текст]"/>
      <dgm:spPr/>
      <dgm:t>
        <a:bodyPr/>
        <a:lstStyle/>
        <a:p>
          <a:r>
            <a:rPr lang="ru-RU" dirty="0" smtClean="0"/>
            <a:t>Субвенция на исполнение переданных Российской Федерацией полномочий в области организации, регулирования и охраны водных биологических ресурсов</a:t>
          </a:r>
          <a:endParaRPr lang="ru-RU" dirty="0"/>
        </a:p>
      </dgm:t>
    </dgm:pt>
    <dgm:pt modelId="{086683EC-54D8-4A39-AE05-885C6CAD0630}" type="parTrans" cxnId="{C0B64203-2D17-4C02-B32B-046C5A57D461}">
      <dgm:prSet/>
      <dgm:spPr/>
      <dgm:t>
        <a:bodyPr/>
        <a:lstStyle/>
        <a:p>
          <a:endParaRPr lang="ru-RU"/>
        </a:p>
      </dgm:t>
    </dgm:pt>
    <dgm:pt modelId="{07922BAF-8B34-43D7-BC14-D11F2ACC3A02}" type="sibTrans" cxnId="{C0B64203-2D17-4C02-B32B-046C5A57D461}">
      <dgm:prSet/>
      <dgm:spPr/>
      <dgm:t>
        <a:bodyPr/>
        <a:lstStyle/>
        <a:p>
          <a:endParaRPr lang="ru-RU"/>
        </a:p>
      </dgm:t>
    </dgm:pt>
    <dgm:pt modelId="{2CB3F8EE-172F-4D41-BFA1-47F350202D18}">
      <dgm:prSet phldrT="[Текст]"/>
      <dgm:spPr/>
      <dgm:t>
        <a:bodyPr/>
        <a:lstStyle/>
        <a:p>
          <a:r>
            <a:rPr lang="ru-RU" dirty="0" smtClean="0"/>
            <a:t>Субвенция на исполнение переданных Российской Федерацией полномочий в области водных отношений </a:t>
          </a:r>
          <a:endParaRPr lang="ru-RU" dirty="0"/>
        </a:p>
      </dgm:t>
    </dgm:pt>
    <dgm:pt modelId="{1322EC56-9226-4B7F-9A10-20A3B010BDD9}" type="parTrans" cxnId="{2A9BF061-88D4-44B8-B8A8-7B43EE89D544}">
      <dgm:prSet/>
      <dgm:spPr/>
      <dgm:t>
        <a:bodyPr/>
        <a:lstStyle/>
        <a:p>
          <a:endParaRPr lang="ru-RU"/>
        </a:p>
      </dgm:t>
    </dgm:pt>
    <dgm:pt modelId="{62EAD288-7877-4133-9DD9-B366E0D7A29E}" type="sibTrans" cxnId="{2A9BF061-88D4-44B8-B8A8-7B43EE89D544}">
      <dgm:prSet/>
      <dgm:spPr/>
      <dgm:t>
        <a:bodyPr/>
        <a:lstStyle/>
        <a:p>
          <a:endParaRPr lang="ru-RU"/>
        </a:p>
      </dgm:t>
    </dgm:pt>
    <dgm:pt modelId="{137BAAAA-236A-4EF9-9B41-7C3895C8EE65}">
      <dgm:prSet phldrT="[Текст]"/>
      <dgm:spPr/>
      <dgm:t>
        <a:bodyPr/>
        <a:lstStyle/>
        <a:p>
          <a:r>
            <a:rPr lang="ru-RU" dirty="0" smtClean="0"/>
            <a:t>Единая субвенция на осуществление полномочий Российской Федерацией в области охраны и использования объектов животного мира</a:t>
          </a:r>
          <a:endParaRPr lang="ru-RU" dirty="0"/>
        </a:p>
      </dgm:t>
    </dgm:pt>
    <dgm:pt modelId="{D643995A-F37D-4720-916D-7BAA1A1CF459}" type="parTrans" cxnId="{BDD727CB-B6B9-4A9B-A213-BC15C408CD9D}">
      <dgm:prSet/>
      <dgm:spPr/>
      <dgm:t>
        <a:bodyPr/>
        <a:lstStyle/>
        <a:p>
          <a:endParaRPr lang="ru-RU"/>
        </a:p>
      </dgm:t>
    </dgm:pt>
    <dgm:pt modelId="{070D9DA1-4498-49A1-B81B-B381ABB7889F}" type="sibTrans" cxnId="{BDD727CB-B6B9-4A9B-A213-BC15C408CD9D}">
      <dgm:prSet/>
      <dgm:spPr/>
      <dgm:t>
        <a:bodyPr/>
        <a:lstStyle/>
        <a:p>
          <a:endParaRPr lang="ru-RU"/>
        </a:p>
      </dgm:t>
    </dgm:pt>
    <dgm:pt modelId="{4AA36B6C-710D-423D-B4A2-D78C508A1F62}">
      <dgm:prSet phldrT="[Текст]"/>
      <dgm:spPr/>
      <dgm:t>
        <a:bodyPr/>
        <a:lstStyle/>
        <a:p>
          <a:r>
            <a:rPr lang="ru-RU" dirty="0" smtClean="0"/>
            <a:t>Единая субвенция на осуществление полномочий Российской Федерацией в области охраны и использования охотничьих ресурсов</a:t>
          </a:r>
          <a:endParaRPr lang="ru-RU" dirty="0"/>
        </a:p>
      </dgm:t>
    </dgm:pt>
    <dgm:pt modelId="{FFEBE00D-9A80-4698-9E2C-446457D505BF}" type="parTrans" cxnId="{C2CF14F3-568B-4609-BD55-D1E4BA5A52E1}">
      <dgm:prSet/>
      <dgm:spPr/>
      <dgm:t>
        <a:bodyPr/>
        <a:lstStyle/>
        <a:p>
          <a:endParaRPr lang="ru-RU"/>
        </a:p>
      </dgm:t>
    </dgm:pt>
    <dgm:pt modelId="{147B7B1C-E2AD-46C0-A569-73BC4A261D08}" type="sibTrans" cxnId="{C2CF14F3-568B-4609-BD55-D1E4BA5A52E1}">
      <dgm:prSet/>
      <dgm:spPr/>
      <dgm:t>
        <a:bodyPr/>
        <a:lstStyle/>
        <a:p>
          <a:endParaRPr lang="ru-RU"/>
        </a:p>
      </dgm:t>
    </dgm:pt>
    <dgm:pt modelId="{F6B90097-217A-49DF-AC76-1380A0B861F3}" type="pres">
      <dgm:prSet presAssocID="{944B87DC-AA41-4396-B959-3F768C669329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62B058F-8E2C-4FA7-8D3E-7195051725BB}" type="pres">
      <dgm:prSet presAssocID="{EBF53096-BAD2-4AFB-90E7-293BBCB334FB}" presName="thickLine" presStyleLbl="alignNode1" presStyleIdx="0" presStyleCnt="1"/>
      <dgm:spPr/>
    </dgm:pt>
    <dgm:pt modelId="{D2F9ED46-49B9-4F97-B44A-C95B87A6ACF9}" type="pres">
      <dgm:prSet presAssocID="{EBF53096-BAD2-4AFB-90E7-293BBCB334FB}" presName="horz1" presStyleCnt="0"/>
      <dgm:spPr/>
    </dgm:pt>
    <dgm:pt modelId="{89FB2E54-D671-4B3E-8037-F8E67A24A3DD}" type="pres">
      <dgm:prSet presAssocID="{EBF53096-BAD2-4AFB-90E7-293BBCB334FB}" presName="tx1" presStyleLbl="revTx" presStyleIdx="0" presStyleCnt="6" custScaleX="264014"/>
      <dgm:spPr/>
      <dgm:t>
        <a:bodyPr/>
        <a:lstStyle/>
        <a:p>
          <a:endParaRPr lang="ru-RU"/>
        </a:p>
      </dgm:t>
    </dgm:pt>
    <dgm:pt modelId="{B7D8A7E6-2015-41DA-9312-AE904411844A}" type="pres">
      <dgm:prSet presAssocID="{EBF53096-BAD2-4AFB-90E7-293BBCB334FB}" presName="vert1" presStyleCnt="0"/>
      <dgm:spPr/>
    </dgm:pt>
    <dgm:pt modelId="{8A155D26-5C26-44F5-B791-792653E104C3}" type="pres">
      <dgm:prSet presAssocID="{693E5612-5F2D-409B-9837-8C81732FBB6F}" presName="vertSpace2a" presStyleCnt="0"/>
      <dgm:spPr/>
    </dgm:pt>
    <dgm:pt modelId="{5067D25D-CFAF-4101-8669-4B7C50BD64D3}" type="pres">
      <dgm:prSet presAssocID="{693E5612-5F2D-409B-9837-8C81732FBB6F}" presName="horz2" presStyleCnt="0"/>
      <dgm:spPr/>
    </dgm:pt>
    <dgm:pt modelId="{E7CC842A-C51F-49BA-AD08-40ED2E1F0887}" type="pres">
      <dgm:prSet presAssocID="{693E5612-5F2D-409B-9837-8C81732FBB6F}" presName="horzSpace2" presStyleCnt="0"/>
      <dgm:spPr/>
    </dgm:pt>
    <dgm:pt modelId="{61A59247-7C2A-479B-8AC5-7FB3FB2C7B8A}" type="pres">
      <dgm:prSet presAssocID="{693E5612-5F2D-409B-9837-8C81732FBB6F}" presName="tx2" presStyleLbl="revTx" presStyleIdx="1" presStyleCnt="6"/>
      <dgm:spPr/>
      <dgm:t>
        <a:bodyPr/>
        <a:lstStyle/>
        <a:p>
          <a:endParaRPr lang="ru-RU"/>
        </a:p>
      </dgm:t>
    </dgm:pt>
    <dgm:pt modelId="{494C2681-FC03-4896-9291-9B080D5E0CB1}" type="pres">
      <dgm:prSet presAssocID="{693E5612-5F2D-409B-9837-8C81732FBB6F}" presName="vert2" presStyleCnt="0"/>
      <dgm:spPr/>
    </dgm:pt>
    <dgm:pt modelId="{271BB105-61DF-43DB-91FD-14D9064D7FC4}" type="pres">
      <dgm:prSet presAssocID="{693E5612-5F2D-409B-9837-8C81732FBB6F}" presName="thinLine2b" presStyleLbl="callout" presStyleIdx="0" presStyleCnt="5" custLinFactNeighborX="-752" custLinFactNeighborY="-84806"/>
      <dgm:spPr/>
    </dgm:pt>
    <dgm:pt modelId="{C4D9C89E-C079-48A8-AC66-BFFD2A4DD94C}" type="pres">
      <dgm:prSet presAssocID="{693E5612-5F2D-409B-9837-8C81732FBB6F}" presName="vertSpace2b" presStyleCnt="0"/>
      <dgm:spPr/>
    </dgm:pt>
    <dgm:pt modelId="{A382D439-D41A-4AD6-8087-42FAD403407F}" type="pres">
      <dgm:prSet presAssocID="{A746D43B-04F8-44BE-B76E-DD99AC5623D5}" presName="horz2" presStyleCnt="0"/>
      <dgm:spPr/>
    </dgm:pt>
    <dgm:pt modelId="{4FF3BF5A-30B1-41D2-889A-84B822612E68}" type="pres">
      <dgm:prSet presAssocID="{A746D43B-04F8-44BE-B76E-DD99AC5623D5}" presName="horzSpace2" presStyleCnt="0"/>
      <dgm:spPr/>
    </dgm:pt>
    <dgm:pt modelId="{3ABE730A-45A3-45BF-82C2-317C8F322FB7}" type="pres">
      <dgm:prSet presAssocID="{A746D43B-04F8-44BE-B76E-DD99AC5623D5}" presName="tx2" presStyleLbl="revTx" presStyleIdx="2" presStyleCnt="6"/>
      <dgm:spPr/>
      <dgm:t>
        <a:bodyPr/>
        <a:lstStyle/>
        <a:p>
          <a:endParaRPr lang="ru-RU"/>
        </a:p>
      </dgm:t>
    </dgm:pt>
    <dgm:pt modelId="{912E3043-3087-43F7-811C-671C58F60908}" type="pres">
      <dgm:prSet presAssocID="{A746D43B-04F8-44BE-B76E-DD99AC5623D5}" presName="vert2" presStyleCnt="0"/>
      <dgm:spPr/>
    </dgm:pt>
    <dgm:pt modelId="{F934E70A-B4E0-4FB4-ADD7-2DD238BEE65A}" type="pres">
      <dgm:prSet presAssocID="{A746D43B-04F8-44BE-B76E-DD99AC5623D5}" presName="thinLine2b" presStyleLbl="callout" presStyleIdx="1" presStyleCnt="5"/>
      <dgm:spPr/>
    </dgm:pt>
    <dgm:pt modelId="{B7BA0BD8-0027-4CF9-BF4F-C48C15207C95}" type="pres">
      <dgm:prSet presAssocID="{A746D43B-04F8-44BE-B76E-DD99AC5623D5}" presName="vertSpace2b" presStyleCnt="0"/>
      <dgm:spPr/>
    </dgm:pt>
    <dgm:pt modelId="{9E6DDEBE-347A-4813-82AE-445F5DDE2E37}" type="pres">
      <dgm:prSet presAssocID="{2CB3F8EE-172F-4D41-BFA1-47F350202D18}" presName="horz2" presStyleCnt="0"/>
      <dgm:spPr/>
    </dgm:pt>
    <dgm:pt modelId="{C96380A6-C366-426D-9F02-93AB6962A64C}" type="pres">
      <dgm:prSet presAssocID="{2CB3F8EE-172F-4D41-BFA1-47F350202D18}" presName="horzSpace2" presStyleCnt="0"/>
      <dgm:spPr/>
    </dgm:pt>
    <dgm:pt modelId="{F307B301-1882-4606-A2BF-45E9914A46B4}" type="pres">
      <dgm:prSet presAssocID="{2CB3F8EE-172F-4D41-BFA1-47F350202D18}" presName="tx2" presStyleLbl="revTx" presStyleIdx="3" presStyleCnt="6"/>
      <dgm:spPr/>
      <dgm:t>
        <a:bodyPr/>
        <a:lstStyle/>
        <a:p>
          <a:endParaRPr lang="ru-RU"/>
        </a:p>
      </dgm:t>
    </dgm:pt>
    <dgm:pt modelId="{C942B983-02BB-4607-829F-F3735C22D1A2}" type="pres">
      <dgm:prSet presAssocID="{2CB3F8EE-172F-4D41-BFA1-47F350202D18}" presName="vert2" presStyleCnt="0"/>
      <dgm:spPr/>
    </dgm:pt>
    <dgm:pt modelId="{5E0C836C-66DB-4E89-A712-E76DF76B92B7}" type="pres">
      <dgm:prSet presAssocID="{2CB3F8EE-172F-4D41-BFA1-47F350202D18}" presName="thinLine2b" presStyleLbl="callout" presStyleIdx="2" presStyleCnt="5"/>
      <dgm:spPr/>
    </dgm:pt>
    <dgm:pt modelId="{49DD7CA6-BA78-43FD-B918-76386DB6C740}" type="pres">
      <dgm:prSet presAssocID="{2CB3F8EE-172F-4D41-BFA1-47F350202D18}" presName="vertSpace2b" presStyleCnt="0"/>
      <dgm:spPr/>
    </dgm:pt>
    <dgm:pt modelId="{81830544-B703-4289-845E-A9A0A2F7B2F7}" type="pres">
      <dgm:prSet presAssocID="{137BAAAA-236A-4EF9-9B41-7C3895C8EE65}" presName="horz2" presStyleCnt="0"/>
      <dgm:spPr/>
    </dgm:pt>
    <dgm:pt modelId="{A058691C-4E90-4EFF-8A7B-3D1B30D5B40D}" type="pres">
      <dgm:prSet presAssocID="{137BAAAA-236A-4EF9-9B41-7C3895C8EE65}" presName="horzSpace2" presStyleCnt="0"/>
      <dgm:spPr/>
    </dgm:pt>
    <dgm:pt modelId="{AEE72E0D-BC77-4659-A67B-11CD6A069E41}" type="pres">
      <dgm:prSet presAssocID="{137BAAAA-236A-4EF9-9B41-7C3895C8EE65}" presName="tx2" presStyleLbl="revTx" presStyleIdx="4" presStyleCnt="6"/>
      <dgm:spPr/>
      <dgm:t>
        <a:bodyPr/>
        <a:lstStyle/>
        <a:p>
          <a:endParaRPr lang="ru-RU"/>
        </a:p>
      </dgm:t>
    </dgm:pt>
    <dgm:pt modelId="{93E82B11-3CA0-4EB4-A6B0-C6E7CEB7BBEC}" type="pres">
      <dgm:prSet presAssocID="{137BAAAA-236A-4EF9-9B41-7C3895C8EE65}" presName="vert2" presStyleCnt="0"/>
      <dgm:spPr/>
    </dgm:pt>
    <dgm:pt modelId="{974B8D3F-5EBC-4554-B9E9-06445A2CE5CD}" type="pres">
      <dgm:prSet presAssocID="{137BAAAA-236A-4EF9-9B41-7C3895C8EE65}" presName="thinLine2b" presStyleLbl="callout" presStyleIdx="3" presStyleCnt="5"/>
      <dgm:spPr/>
    </dgm:pt>
    <dgm:pt modelId="{D38F23D4-3E2E-4ABC-8404-B26AB9BFDC05}" type="pres">
      <dgm:prSet presAssocID="{137BAAAA-236A-4EF9-9B41-7C3895C8EE65}" presName="vertSpace2b" presStyleCnt="0"/>
      <dgm:spPr/>
    </dgm:pt>
    <dgm:pt modelId="{35F29903-D96C-4D21-8EEC-587766CF3D0B}" type="pres">
      <dgm:prSet presAssocID="{4AA36B6C-710D-423D-B4A2-D78C508A1F62}" presName="horz2" presStyleCnt="0"/>
      <dgm:spPr/>
    </dgm:pt>
    <dgm:pt modelId="{C9B7B678-A459-4156-AA41-B57666AD3918}" type="pres">
      <dgm:prSet presAssocID="{4AA36B6C-710D-423D-B4A2-D78C508A1F62}" presName="horzSpace2" presStyleCnt="0"/>
      <dgm:spPr/>
    </dgm:pt>
    <dgm:pt modelId="{3412E00C-FDA1-4D36-B2FE-AC17E9AEBB33}" type="pres">
      <dgm:prSet presAssocID="{4AA36B6C-710D-423D-B4A2-D78C508A1F62}" presName="tx2" presStyleLbl="revTx" presStyleIdx="5" presStyleCnt="6"/>
      <dgm:spPr/>
      <dgm:t>
        <a:bodyPr/>
        <a:lstStyle/>
        <a:p>
          <a:endParaRPr lang="ru-RU"/>
        </a:p>
      </dgm:t>
    </dgm:pt>
    <dgm:pt modelId="{FC53A979-042B-4EB9-91CF-B62C35DDC6C5}" type="pres">
      <dgm:prSet presAssocID="{4AA36B6C-710D-423D-B4A2-D78C508A1F62}" presName="vert2" presStyleCnt="0"/>
      <dgm:spPr/>
    </dgm:pt>
    <dgm:pt modelId="{135BFF7F-FFCB-4B51-AE5C-65FBD5A4FFC5}" type="pres">
      <dgm:prSet presAssocID="{4AA36B6C-710D-423D-B4A2-D78C508A1F62}" presName="thinLine2b" presStyleLbl="callout" presStyleIdx="4" presStyleCnt="5"/>
      <dgm:spPr/>
    </dgm:pt>
    <dgm:pt modelId="{E2B8E425-5B4C-40FC-8382-8CF601F261E1}" type="pres">
      <dgm:prSet presAssocID="{4AA36B6C-710D-423D-B4A2-D78C508A1F62}" presName="vertSpace2b" presStyleCnt="0"/>
      <dgm:spPr/>
    </dgm:pt>
  </dgm:ptLst>
  <dgm:cxnLst>
    <dgm:cxn modelId="{D649B498-EA12-44D0-93A1-C5D26B9AC62E}" srcId="{EBF53096-BAD2-4AFB-90E7-293BBCB334FB}" destId="{693E5612-5F2D-409B-9837-8C81732FBB6F}" srcOrd="0" destOrd="0" parTransId="{D90555BD-8091-4CD1-8AA9-2ECFA8D4A7FD}" sibTransId="{C90D005C-2D9A-4E70-BAD5-D38E1572A51D}"/>
    <dgm:cxn modelId="{E5933B9E-91B4-4A03-8423-831EC70F1149}" type="presOf" srcId="{A746D43B-04F8-44BE-B76E-DD99AC5623D5}" destId="{3ABE730A-45A3-45BF-82C2-317C8F322FB7}" srcOrd="0" destOrd="0" presId="urn:microsoft.com/office/officeart/2008/layout/LinedList"/>
    <dgm:cxn modelId="{7E9F57D4-C96C-46B2-BCB5-E5C552CE3B1D}" type="presOf" srcId="{2CB3F8EE-172F-4D41-BFA1-47F350202D18}" destId="{F307B301-1882-4606-A2BF-45E9914A46B4}" srcOrd="0" destOrd="0" presId="urn:microsoft.com/office/officeart/2008/layout/LinedList"/>
    <dgm:cxn modelId="{13371771-D7C3-44EC-AF2E-36C9C1AC51AE}" type="presOf" srcId="{EBF53096-BAD2-4AFB-90E7-293BBCB334FB}" destId="{89FB2E54-D671-4B3E-8037-F8E67A24A3DD}" srcOrd="0" destOrd="0" presId="urn:microsoft.com/office/officeart/2008/layout/LinedList"/>
    <dgm:cxn modelId="{DD579EB2-1A8B-4E65-A037-25C80928A66C}" type="presOf" srcId="{693E5612-5F2D-409B-9837-8C81732FBB6F}" destId="{61A59247-7C2A-479B-8AC5-7FB3FB2C7B8A}" srcOrd="0" destOrd="0" presId="urn:microsoft.com/office/officeart/2008/layout/LinedList"/>
    <dgm:cxn modelId="{C2A5B253-C1DB-4416-9F6D-BD2A4BAD9D69}" srcId="{944B87DC-AA41-4396-B959-3F768C669329}" destId="{EBF53096-BAD2-4AFB-90E7-293BBCB334FB}" srcOrd="0" destOrd="0" parTransId="{19AA719E-19EE-43A6-BB41-EEC5BC3D1B2C}" sibTransId="{A5C78D7A-8CBC-4A9E-9511-ED33D45A9990}"/>
    <dgm:cxn modelId="{C0B64203-2D17-4C02-B32B-046C5A57D461}" srcId="{EBF53096-BAD2-4AFB-90E7-293BBCB334FB}" destId="{A746D43B-04F8-44BE-B76E-DD99AC5623D5}" srcOrd="1" destOrd="0" parTransId="{086683EC-54D8-4A39-AE05-885C6CAD0630}" sibTransId="{07922BAF-8B34-43D7-BC14-D11F2ACC3A02}"/>
    <dgm:cxn modelId="{2A9BF061-88D4-44B8-B8A8-7B43EE89D544}" srcId="{EBF53096-BAD2-4AFB-90E7-293BBCB334FB}" destId="{2CB3F8EE-172F-4D41-BFA1-47F350202D18}" srcOrd="2" destOrd="0" parTransId="{1322EC56-9226-4B7F-9A10-20A3B010BDD9}" sibTransId="{62EAD288-7877-4133-9DD9-B366E0D7A29E}"/>
    <dgm:cxn modelId="{C1158BD2-3A9A-4049-9828-07B4731B4CFC}" type="presOf" srcId="{944B87DC-AA41-4396-B959-3F768C669329}" destId="{F6B90097-217A-49DF-AC76-1380A0B861F3}" srcOrd="0" destOrd="0" presId="urn:microsoft.com/office/officeart/2008/layout/LinedList"/>
    <dgm:cxn modelId="{C2CF14F3-568B-4609-BD55-D1E4BA5A52E1}" srcId="{EBF53096-BAD2-4AFB-90E7-293BBCB334FB}" destId="{4AA36B6C-710D-423D-B4A2-D78C508A1F62}" srcOrd="4" destOrd="0" parTransId="{FFEBE00D-9A80-4698-9E2C-446457D505BF}" sibTransId="{147B7B1C-E2AD-46C0-A569-73BC4A261D08}"/>
    <dgm:cxn modelId="{D888F8F0-E3B7-4EAE-AEC0-C52FC359138A}" type="presOf" srcId="{4AA36B6C-710D-423D-B4A2-D78C508A1F62}" destId="{3412E00C-FDA1-4D36-B2FE-AC17E9AEBB33}" srcOrd="0" destOrd="0" presId="urn:microsoft.com/office/officeart/2008/layout/LinedList"/>
    <dgm:cxn modelId="{4DF679E9-7B15-4190-906C-8F79AFDCF50A}" type="presOf" srcId="{137BAAAA-236A-4EF9-9B41-7C3895C8EE65}" destId="{AEE72E0D-BC77-4659-A67B-11CD6A069E41}" srcOrd="0" destOrd="0" presId="urn:microsoft.com/office/officeart/2008/layout/LinedList"/>
    <dgm:cxn modelId="{BDD727CB-B6B9-4A9B-A213-BC15C408CD9D}" srcId="{EBF53096-BAD2-4AFB-90E7-293BBCB334FB}" destId="{137BAAAA-236A-4EF9-9B41-7C3895C8EE65}" srcOrd="3" destOrd="0" parTransId="{D643995A-F37D-4720-916D-7BAA1A1CF459}" sibTransId="{070D9DA1-4498-49A1-B81B-B381ABB7889F}"/>
    <dgm:cxn modelId="{318A8FE7-9CE9-418A-8468-CCD451D6B6B2}" type="presParOf" srcId="{F6B90097-217A-49DF-AC76-1380A0B861F3}" destId="{062B058F-8E2C-4FA7-8D3E-7195051725BB}" srcOrd="0" destOrd="0" presId="urn:microsoft.com/office/officeart/2008/layout/LinedList"/>
    <dgm:cxn modelId="{2A285F2C-0CBE-47B9-AEB6-47EF9A5AA7EA}" type="presParOf" srcId="{F6B90097-217A-49DF-AC76-1380A0B861F3}" destId="{D2F9ED46-49B9-4F97-B44A-C95B87A6ACF9}" srcOrd="1" destOrd="0" presId="urn:microsoft.com/office/officeart/2008/layout/LinedList"/>
    <dgm:cxn modelId="{29428ED2-1C87-4A48-9957-CA8D78020154}" type="presParOf" srcId="{D2F9ED46-49B9-4F97-B44A-C95B87A6ACF9}" destId="{89FB2E54-D671-4B3E-8037-F8E67A24A3DD}" srcOrd="0" destOrd="0" presId="urn:microsoft.com/office/officeart/2008/layout/LinedList"/>
    <dgm:cxn modelId="{1376CAFD-0096-42BC-BD70-EF9C687C40CB}" type="presParOf" srcId="{D2F9ED46-49B9-4F97-B44A-C95B87A6ACF9}" destId="{B7D8A7E6-2015-41DA-9312-AE904411844A}" srcOrd="1" destOrd="0" presId="urn:microsoft.com/office/officeart/2008/layout/LinedList"/>
    <dgm:cxn modelId="{CA914B1D-684D-4005-8EEA-F33AB4283DCF}" type="presParOf" srcId="{B7D8A7E6-2015-41DA-9312-AE904411844A}" destId="{8A155D26-5C26-44F5-B791-792653E104C3}" srcOrd="0" destOrd="0" presId="urn:microsoft.com/office/officeart/2008/layout/LinedList"/>
    <dgm:cxn modelId="{FECCE505-BA91-4AE3-AB3F-73E5187CA470}" type="presParOf" srcId="{B7D8A7E6-2015-41DA-9312-AE904411844A}" destId="{5067D25D-CFAF-4101-8669-4B7C50BD64D3}" srcOrd="1" destOrd="0" presId="urn:microsoft.com/office/officeart/2008/layout/LinedList"/>
    <dgm:cxn modelId="{1B42227F-C868-4C3C-B6EA-02F283970803}" type="presParOf" srcId="{5067D25D-CFAF-4101-8669-4B7C50BD64D3}" destId="{E7CC842A-C51F-49BA-AD08-40ED2E1F0887}" srcOrd="0" destOrd="0" presId="urn:microsoft.com/office/officeart/2008/layout/LinedList"/>
    <dgm:cxn modelId="{B1E1F2E4-DA95-42EB-864C-576E62775E60}" type="presParOf" srcId="{5067D25D-CFAF-4101-8669-4B7C50BD64D3}" destId="{61A59247-7C2A-479B-8AC5-7FB3FB2C7B8A}" srcOrd="1" destOrd="0" presId="urn:microsoft.com/office/officeart/2008/layout/LinedList"/>
    <dgm:cxn modelId="{076BF27F-69E6-4EC7-B1E9-58B6A92636E9}" type="presParOf" srcId="{5067D25D-CFAF-4101-8669-4B7C50BD64D3}" destId="{494C2681-FC03-4896-9291-9B080D5E0CB1}" srcOrd="2" destOrd="0" presId="urn:microsoft.com/office/officeart/2008/layout/LinedList"/>
    <dgm:cxn modelId="{949FBAEA-C583-4FD1-9246-00AB7D222293}" type="presParOf" srcId="{B7D8A7E6-2015-41DA-9312-AE904411844A}" destId="{271BB105-61DF-43DB-91FD-14D9064D7FC4}" srcOrd="2" destOrd="0" presId="urn:microsoft.com/office/officeart/2008/layout/LinedList"/>
    <dgm:cxn modelId="{65FFFDF1-E6F0-45FA-A95E-60AF26B26491}" type="presParOf" srcId="{B7D8A7E6-2015-41DA-9312-AE904411844A}" destId="{C4D9C89E-C079-48A8-AC66-BFFD2A4DD94C}" srcOrd="3" destOrd="0" presId="urn:microsoft.com/office/officeart/2008/layout/LinedList"/>
    <dgm:cxn modelId="{EBEF5871-C4C4-4EF5-95B5-0A37E0028FE6}" type="presParOf" srcId="{B7D8A7E6-2015-41DA-9312-AE904411844A}" destId="{A382D439-D41A-4AD6-8087-42FAD403407F}" srcOrd="4" destOrd="0" presId="urn:microsoft.com/office/officeart/2008/layout/LinedList"/>
    <dgm:cxn modelId="{514040B4-4619-4970-B9D5-5049C3B70E74}" type="presParOf" srcId="{A382D439-D41A-4AD6-8087-42FAD403407F}" destId="{4FF3BF5A-30B1-41D2-889A-84B822612E68}" srcOrd="0" destOrd="0" presId="urn:microsoft.com/office/officeart/2008/layout/LinedList"/>
    <dgm:cxn modelId="{1AF2F99A-D335-4ADE-AF4A-2B3DA86B7A33}" type="presParOf" srcId="{A382D439-D41A-4AD6-8087-42FAD403407F}" destId="{3ABE730A-45A3-45BF-82C2-317C8F322FB7}" srcOrd="1" destOrd="0" presId="urn:microsoft.com/office/officeart/2008/layout/LinedList"/>
    <dgm:cxn modelId="{CFE169ED-9DA0-4CDC-B421-061058A6712C}" type="presParOf" srcId="{A382D439-D41A-4AD6-8087-42FAD403407F}" destId="{912E3043-3087-43F7-811C-671C58F60908}" srcOrd="2" destOrd="0" presId="urn:microsoft.com/office/officeart/2008/layout/LinedList"/>
    <dgm:cxn modelId="{224CFC9A-272A-4C68-9DCA-1B97E9BA6D9A}" type="presParOf" srcId="{B7D8A7E6-2015-41DA-9312-AE904411844A}" destId="{F934E70A-B4E0-4FB4-ADD7-2DD238BEE65A}" srcOrd="5" destOrd="0" presId="urn:microsoft.com/office/officeart/2008/layout/LinedList"/>
    <dgm:cxn modelId="{4EE080DA-5ED7-4028-AF2B-FF4409854A13}" type="presParOf" srcId="{B7D8A7E6-2015-41DA-9312-AE904411844A}" destId="{B7BA0BD8-0027-4CF9-BF4F-C48C15207C95}" srcOrd="6" destOrd="0" presId="urn:microsoft.com/office/officeart/2008/layout/LinedList"/>
    <dgm:cxn modelId="{F9CF916E-46D7-44FF-9C21-03040846CDB8}" type="presParOf" srcId="{B7D8A7E6-2015-41DA-9312-AE904411844A}" destId="{9E6DDEBE-347A-4813-82AE-445F5DDE2E37}" srcOrd="7" destOrd="0" presId="urn:microsoft.com/office/officeart/2008/layout/LinedList"/>
    <dgm:cxn modelId="{B175B1A4-AB75-44C3-A003-6922E19863E1}" type="presParOf" srcId="{9E6DDEBE-347A-4813-82AE-445F5DDE2E37}" destId="{C96380A6-C366-426D-9F02-93AB6962A64C}" srcOrd="0" destOrd="0" presId="urn:microsoft.com/office/officeart/2008/layout/LinedList"/>
    <dgm:cxn modelId="{69FDDD7C-A494-40C9-B1A1-F47B529AD4CB}" type="presParOf" srcId="{9E6DDEBE-347A-4813-82AE-445F5DDE2E37}" destId="{F307B301-1882-4606-A2BF-45E9914A46B4}" srcOrd="1" destOrd="0" presId="urn:microsoft.com/office/officeart/2008/layout/LinedList"/>
    <dgm:cxn modelId="{D92D08D3-A1EE-49CB-AF21-BD466FA49B6F}" type="presParOf" srcId="{9E6DDEBE-347A-4813-82AE-445F5DDE2E37}" destId="{C942B983-02BB-4607-829F-F3735C22D1A2}" srcOrd="2" destOrd="0" presId="urn:microsoft.com/office/officeart/2008/layout/LinedList"/>
    <dgm:cxn modelId="{D6170D45-36C5-4BAA-B37F-6E800258B112}" type="presParOf" srcId="{B7D8A7E6-2015-41DA-9312-AE904411844A}" destId="{5E0C836C-66DB-4E89-A712-E76DF76B92B7}" srcOrd="8" destOrd="0" presId="urn:microsoft.com/office/officeart/2008/layout/LinedList"/>
    <dgm:cxn modelId="{53FC1F7E-B539-4183-AA09-DF500A0FB60B}" type="presParOf" srcId="{B7D8A7E6-2015-41DA-9312-AE904411844A}" destId="{49DD7CA6-BA78-43FD-B918-76386DB6C740}" srcOrd="9" destOrd="0" presId="urn:microsoft.com/office/officeart/2008/layout/LinedList"/>
    <dgm:cxn modelId="{07BC8C39-347D-4993-B221-FA3C32F4F98D}" type="presParOf" srcId="{B7D8A7E6-2015-41DA-9312-AE904411844A}" destId="{81830544-B703-4289-845E-A9A0A2F7B2F7}" srcOrd="10" destOrd="0" presId="urn:microsoft.com/office/officeart/2008/layout/LinedList"/>
    <dgm:cxn modelId="{97F06D12-02FF-4896-90A8-603C5DB55193}" type="presParOf" srcId="{81830544-B703-4289-845E-A9A0A2F7B2F7}" destId="{A058691C-4E90-4EFF-8A7B-3D1B30D5B40D}" srcOrd="0" destOrd="0" presId="urn:microsoft.com/office/officeart/2008/layout/LinedList"/>
    <dgm:cxn modelId="{1506103B-1F6F-486A-A938-76048F773812}" type="presParOf" srcId="{81830544-B703-4289-845E-A9A0A2F7B2F7}" destId="{AEE72E0D-BC77-4659-A67B-11CD6A069E41}" srcOrd="1" destOrd="0" presId="urn:microsoft.com/office/officeart/2008/layout/LinedList"/>
    <dgm:cxn modelId="{FC86A4CE-F05A-4BB9-B934-5B1516471FEE}" type="presParOf" srcId="{81830544-B703-4289-845E-A9A0A2F7B2F7}" destId="{93E82B11-3CA0-4EB4-A6B0-C6E7CEB7BBEC}" srcOrd="2" destOrd="0" presId="urn:microsoft.com/office/officeart/2008/layout/LinedList"/>
    <dgm:cxn modelId="{92BB34D4-C0F8-467F-AAB6-20FDD18E4AFD}" type="presParOf" srcId="{B7D8A7E6-2015-41DA-9312-AE904411844A}" destId="{974B8D3F-5EBC-4554-B9E9-06445A2CE5CD}" srcOrd="11" destOrd="0" presId="urn:microsoft.com/office/officeart/2008/layout/LinedList"/>
    <dgm:cxn modelId="{7810A254-4055-46AB-80CB-361C687152B8}" type="presParOf" srcId="{B7D8A7E6-2015-41DA-9312-AE904411844A}" destId="{D38F23D4-3E2E-4ABC-8404-B26AB9BFDC05}" srcOrd="12" destOrd="0" presId="urn:microsoft.com/office/officeart/2008/layout/LinedList"/>
    <dgm:cxn modelId="{AE7658B9-4620-4091-8B68-8E02E696B055}" type="presParOf" srcId="{B7D8A7E6-2015-41DA-9312-AE904411844A}" destId="{35F29903-D96C-4D21-8EEC-587766CF3D0B}" srcOrd="13" destOrd="0" presId="urn:microsoft.com/office/officeart/2008/layout/LinedList"/>
    <dgm:cxn modelId="{08664FED-3A00-47C9-8ADC-40C69DF347F4}" type="presParOf" srcId="{35F29903-D96C-4D21-8EEC-587766CF3D0B}" destId="{C9B7B678-A459-4156-AA41-B57666AD3918}" srcOrd="0" destOrd="0" presId="urn:microsoft.com/office/officeart/2008/layout/LinedList"/>
    <dgm:cxn modelId="{4231A3BF-F22B-47D4-922B-A4B38E480588}" type="presParOf" srcId="{35F29903-D96C-4D21-8EEC-587766CF3D0B}" destId="{3412E00C-FDA1-4D36-B2FE-AC17E9AEBB33}" srcOrd="1" destOrd="0" presId="urn:microsoft.com/office/officeart/2008/layout/LinedList"/>
    <dgm:cxn modelId="{2C606906-FD16-4F43-AE85-31D1EDC954B2}" type="presParOf" srcId="{35F29903-D96C-4D21-8EEC-587766CF3D0B}" destId="{FC53A979-042B-4EB9-91CF-B62C35DDC6C5}" srcOrd="2" destOrd="0" presId="urn:microsoft.com/office/officeart/2008/layout/LinedList"/>
    <dgm:cxn modelId="{66416743-5C71-4EFE-BA4A-4E336B7CE234}" type="presParOf" srcId="{B7D8A7E6-2015-41DA-9312-AE904411844A}" destId="{135BFF7F-FFCB-4B51-AE5C-65FBD5A4FFC5}" srcOrd="14" destOrd="0" presId="urn:microsoft.com/office/officeart/2008/layout/LinedList"/>
    <dgm:cxn modelId="{E823215C-E80B-4469-B0AE-D92F30C30299}" type="presParOf" srcId="{B7D8A7E6-2015-41DA-9312-AE904411844A}" destId="{E2B8E425-5B4C-40FC-8382-8CF601F261E1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FDB6EBD-F8B6-480F-B2AE-4903A5A011FB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5CF8696-B8D0-44DD-8B93-E23D05A40AF5}">
      <dgm:prSet phldrT="[Текст]" custT="1"/>
      <dgm:spPr>
        <a:solidFill>
          <a:srgbClr val="FFBCBC"/>
        </a:solidFill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«Сохранение лесов»</a:t>
          </a:r>
          <a:endParaRPr lang="ru-RU" sz="1800" dirty="0">
            <a:solidFill>
              <a:schemeClr val="tx1"/>
            </a:solidFill>
          </a:endParaRPr>
        </a:p>
      </dgm:t>
    </dgm:pt>
    <dgm:pt modelId="{CEF752D3-4BFD-4FFC-B292-7E93EEA90160}" type="parTrans" cxnId="{23896860-92B7-435D-BB9F-17C55BD1B381}">
      <dgm:prSet/>
      <dgm:spPr/>
      <dgm:t>
        <a:bodyPr/>
        <a:lstStyle/>
        <a:p>
          <a:endParaRPr lang="ru-RU"/>
        </a:p>
      </dgm:t>
    </dgm:pt>
    <dgm:pt modelId="{01386EFA-D92E-4216-A93B-3398ADC885A9}" type="sibTrans" cxnId="{23896860-92B7-435D-BB9F-17C55BD1B381}">
      <dgm:prSet/>
      <dgm:spPr/>
      <dgm:t>
        <a:bodyPr/>
        <a:lstStyle/>
        <a:p>
          <a:endParaRPr lang="ru-RU"/>
        </a:p>
      </dgm:t>
    </dgm:pt>
    <dgm:pt modelId="{C653CB5A-8F9C-40E0-8101-AA58BD9BAF17}">
      <dgm:prSet phldrT="[Текст]" custT="1"/>
      <dgm:spPr/>
      <dgm:t>
        <a:bodyPr/>
        <a:lstStyle/>
        <a:p>
          <a:r>
            <a:rPr lang="ru-RU" sz="1800" dirty="0" smtClean="0"/>
            <a:t>Выделено –    </a:t>
          </a:r>
          <a:r>
            <a:rPr lang="ru-RU" sz="1800" b="1" dirty="0" smtClean="0"/>
            <a:t>334 млн. руб.</a:t>
          </a:r>
          <a:endParaRPr lang="ru-RU" sz="1800" b="1" dirty="0"/>
        </a:p>
      </dgm:t>
    </dgm:pt>
    <dgm:pt modelId="{5EB7F00B-20CE-41EA-AF7A-53AE770B2F89}" type="parTrans" cxnId="{43900220-A1FF-4BDC-8762-6E09D106848F}">
      <dgm:prSet/>
      <dgm:spPr/>
      <dgm:t>
        <a:bodyPr/>
        <a:lstStyle/>
        <a:p>
          <a:endParaRPr lang="ru-RU"/>
        </a:p>
      </dgm:t>
    </dgm:pt>
    <dgm:pt modelId="{2E8F6511-9567-48C0-8726-3F538D145C17}" type="sibTrans" cxnId="{43900220-A1FF-4BDC-8762-6E09D106848F}">
      <dgm:prSet/>
      <dgm:spPr/>
      <dgm:t>
        <a:bodyPr/>
        <a:lstStyle/>
        <a:p>
          <a:endParaRPr lang="ru-RU"/>
        </a:p>
      </dgm:t>
    </dgm:pt>
    <dgm:pt modelId="{9F6B9967-0130-42CE-9103-2A7E31F47C1A}">
      <dgm:prSet phldrT="[Текст]" custT="1"/>
      <dgm:spPr/>
      <dgm:t>
        <a:bodyPr/>
        <a:lstStyle/>
        <a:p>
          <a:r>
            <a:rPr lang="ru-RU" sz="1800" dirty="0" smtClean="0"/>
            <a:t>Исполнено –  </a:t>
          </a:r>
          <a:r>
            <a:rPr lang="ru-RU" sz="1800" b="1" dirty="0" smtClean="0"/>
            <a:t>334 млн. руб.</a:t>
          </a:r>
          <a:endParaRPr lang="ru-RU" sz="1800" b="1" dirty="0"/>
        </a:p>
      </dgm:t>
    </dgm:pt>
    <dgm:pt modelId="{6F68A87C-BE6A-414A-A2A9-E912D6D70C26}" type="parTrans" cxnId="{69D0CDFF-6671-4F01-AC23-7B24217EFFFB}">
      <dgm:prSet/>
      <dgm:spPr/>
      <dgm:t>
        <a:bodyPr/>
        <a:lstStyle/>
        <a:p>
          <a:endParaRPr lang="ru-RU"/>
        </a:p>
      </dgm:t>
    </dgm:pt>
    <dgm:pt modelId="{E2FED3D7-8445-48B3-B5B5-B1E0CEDA9DCB}" type="sibTrans" cxnId="{69D0CDFF-6671-4F01-AC23-7B24217EFFFB}">
      <dgm:prSet/>
      <dgm:spPr/>
      <dgm:t>
        <a:bodyPr/>
        <a:lstStyle/>
        <a:p>
          <a:endParaRPr lang="ru-RU"/>
        </a:p>
      </dgm:t>
    </dgm:pt>
    <dgm:pt modelId="{03783450-EED4-49D9-98B0-4E0B01D3E56B}">
      <dgm:prSet phldrT="[Текст]" custT="1"/>
      <dgm:spPr>
        <a:solidFill>
          <a:srgbClr val="FFBCBC"/>
        </a:solidFill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«Чистая страна»</a:t>
          </a:r>
          <a:endParaRPr lang="ru-RU" sz="1800" dirty="0">
            <a:solidFill>
              <a:schemeClr val="tx1"/>
            </a:solidFill>
          </a:endParaRPr>
        </a:p>
      </dgm:t>
    </dgm:pt>
    <dgm:pt modelId="{38DA77E6-1528-4DBF-B584-7FFD07C4609D}" type="parTrans" cxnId="{B3836BD5-CD70-4E32-AA6C-4F14576F4660}">
      <dgm:prSet/>
      <dgm:spPr/>
      <dgm:t>
        <a:bodyPr/>
        <a:lstStyle/>
        <a:p>
          <a:endParaRPr lang="ru-RU"/>
        </a:p>
      </dgm:t>
    </dgm:pt>
    <dgm:pt modelId="{C87B99ED-8DCA-413F-8B63-13398617501B}" type="sibTrans" cxnId="{B3836BD5-CD70-4E32-AA6C-4F14576F4660}">
      <dgm:prSet/>
      <dgm:spPr/>
      <dgm:t>
        <a:bodyPr/>
        <a:lstStyle/>
        <a:p>
          <a:endParaRPr lang="ru-RU"/>
        </a:p>
      </dgm:t>
    </dgm:pt>
    <dgm:pt modelId="{327D4628-8160-4834-9C6C-27CBB76BEB7D}">
      <dgm:prSet phldrT="[Текст]" custT="1"/>
      <dgm:spPr>
        <a:solidFill>
          <a:srgbClr val="FFBCBC"/>
        </a:solidFill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«Чистый воздух»</a:t>
          </a:r>
          <a:endParaRPr lang="ru-RU" sz="1800" dirty="0">
            <a:solidFill>
              <a:schemeClr val="tx1"/>
            </a:solidFill>
          </a:endParaRPr>
        </a:p>
      </dgm:t>
    </dgm:pt>
    <dgm:pt modelId="{F4AD373F-AB39-4325-8278-C6FD168C63FF}" type="parTrans" cxnId="{A09FA220-9FD9-4BEF-8A15-2E2BD58B5685}">
      <dgm:prSet/>
      <dgm:spPr/>
      <dgm:t>
        <a:bodyPr/>
        <a:lstStyle/>
        <a:p>
          <a:endParaRPr lang="ru-RU"/>
        </a:p>
      </dgm:t>
    </dgm:pt>
    <dgm:pt modelId="{702BDB48-9926-4911-95EB-4990FF06DFE6}" type="sibTrans" cxnId="{A09FA220-9FD9-4BEF-8A15-2E2BD58B5685}">
      <dgm:prSet/>
      <dgm:spPr/>
      <dgm:t>
        <a:bodyPr/>
        <a:lstStyle/>
        <a:p>
          <a:endParaRPr lang="ru-RU"/>
        </a:p>
      </dgm:t>
    </dgm:pt>
    <dgm:pt modelId="{4AD4BF52-DF04-4FAF-AEC5-2D87058495A0}">
      <dgm:prSet custT="1"/>
      <dgm:spPr/>
      <dgm:t>
        <a:bodyPr/>
        <a:lstStyle/>
        <a:p>
          <a:r>
            <a:rPr lang="ru-RU" sz="1800" dirty="0" smtClean="0"/>
            <a:t>Процент освоения - </a:t>
          </a:r>
          <a:r>
            <a:rPr lang="ru-RU" sz="1800" b="1" dirty="0" smtClean="0"/>
            <a:t>100</a:t>
          </a:r>
          <a:endParaRPr lang="ru-RU" sz="1800" b="1" dirty="0"/>
        </a:p>
      </dgm:t>
    </dgm:pt>
    <dgm:pt modelId="{B4A579E2-582C-4E0D-A57C-7901899F59CB}" type="parTrans" cxnId="{3410942A-B848-4420-8EA4-434425962707}">
      <dgm:prSet/>
      <dgm:spPr/>
      <dgm:t>
        <a:bodyPr/>
        <a:lstStyle/>
        <a:p>
          <a:endParaRPr lang="ru-RU"/>
        </a:p>
      </dgm:t>
    </dgm:pt>
    <dgm:pt modelId="{E6027250-1EA2-4322-AD95-97D2C66117D9}" type="sibTrans" cxnId="{3410942A-B848-4420-8EA4-434425962707}">
      <dgm:prSet/>
      <dgm:spPr/>
      <dgm:t>
        <a:bodyPr/>
        <a:lstStyle/>
        <a:p>
          <a:endParaRPr lang="ru-RU"/>
        </a:p>
      </dgm:t>
    </dgm:pt>
    <dgm:pt modelId="{5EECD23F-0627-4994-B758-ECEF27F5AF85}">
      <dgm:prSet phldrT="[Текст]" custT="1"/>
      <dgm:spPr/>
      <dgm:t>
        <a:bodyPr/>
        <a:lstStyle/>
        <a:p>
          <a:r>
            <a:rPr lang="ru-RU" sz="1800" dirty="0" smtClean="0"/>
            <a:t>Выделено – </a:t>
          </a:r>
        </a:p>
        <a:p>
          <a:r>
            <a:rPr lang="ru-RU" sz="1800" b="1" dirty="0" smtClean="0"/>
            <a:t>20,5 млн. руб.</a:t>
          </a:r>
          <a:endParaRPr lang="ru-RU" sz="1800" b="1" dirty="0"/>
        </a:p>
      </dgm:t>
    </dgm:pt>
    <dgm:pt modelId="{D0716846-C186-47DE-AB97-9F58BD372E9A}" type="parTrans" cxnId="{7B58A67A-FF2C-44F8-8634-B05C0FA92C12}">
      <dgm:prSet/>
      <dgm:spPr/>
      <dgm:t>
        <a:bodyPr/>
        <a:lstStyle/>
        <a:p>
          <a:endParaRPr lang="ru-RU"/>
        </a:p>
      </dgm:t>
    </dgm:pt>
    <dgm:pt modelId="{7AA0211F-F802-4F88-B6B8-DF6638BBB08C}" type="sibTrans" cxnId="{7B58A67A-FF2C-44F8-8634-B05C0FA92C12}">
      <dgm:prSet/>
      <dgm:spPr/>
      <dgm:t>
        <a:bodyPr/>
        <a:lstStyle/>
        <a:p>
          <a:endParaRPr lang="ru-RU"/>
        </a:p>
      </dgm:t>
    </dgm:pt>
    <dgm:pt modelId="{2BD8BA2A-7431-4E27-ACDE-E7323F316BC6}">
      <dgm:prSet phldrT="[Текст]" custT="1"/>
      <dgm:spPr/>
      <dgm:t>
        <a:bodyPr/>
        <a:lstStyle/>
        <a:p>
          <a:r>
            <a:rPr lang="ru-RU" sz="1800" dirty="0" smtClean="0"/>
            <a:t>Исполнено – </a:t>
          </a:r>
          <a:r>
            <a:rPr lang="ru-RU" sz="1800" b="1" dirty="0" smtClean="0"/>
            <a:t>18,5 млн. руб.</a:t>
          </a:r>
          <a:endParaRPr lang="ru-RU" sz="1800" b="1" dirty="0"/>
        </a:p>
      </dgm:t>
    </dgm:pt>
    <dgm:pt modelId="{A9EC0C29-DEF5-4334-9478-0208FE4DD40B}" type="parTrans" cxnId="{D689A350-8DA3-4A53-A2CF-CCEAB13D0E91}">
      <dgm:prSet/>
      <dgm:spPr/>
      <dgm:t>
        <a:bodyPr/>
        <a:lstStyle/>
        <a:p>
          <a:endParaRPr lang="ru-RU"/>
        </a:p>
      </dgm:t>
    </dgm:pt>
    <dgm:pt modelId="{3FFAA63B-E3D9-451D-9A9B-44F39825FA91}" type="sibTrans" cxnId="{D689A350-8DA3-4A53-A2CF-CCEAB13D0E91}">
      <dgm:prSet/>
      <dgm:spPr/>
      <dgm:t>
        <a:bodyPr/>
        <a:lstStyle/>
        <a:p>
          <a:endParaRPr lang="ru-RU"/>
        </a:p>
      </dgm:t>
    </dgm:pt>
    <dgm:pt modelId="{C7B83C59-02C1-44E1-86ED-2FAEB21E1054}">
      <dgm:prSet custT="1"/>
      <dgm:spPr/>
      <dgm:t>
        <a:bodyPr/>
        <a:lstStyle/>
        <a:p>
          <a:r>
            <a:rPr lang="ru-RU" sz="1800" dirty="0" smtClean="0"/>
            <a:t>Процент освоения – </a:t>
          </a:r>
          <a:r>
            <a:rPr lang="ru-RU" sz="1800" b="1" dirty="0" smtClean="0"/>
            <a:t>90,2</a:t>
          </a:r>
          <a:endParaRPr lang="ru-RU" sz="1800" b="1" dirty="0"/>
        </a:p>
      </dgm:t>
    </dgm:pt>
    <dgm:pt modelId="{D5F43353-6B80-4939-88A8-B1B33B38B7FD}" type="parTrans" cxnId="{C41BA78D-D0BD-4AC7-9166-DA297C5A328C}">
      <dgm:prSet/>
      <dgm:spPr/>
      <dgm:t>
        <a:bodyPr/>
        <a:lstStyle/>
        <a:p>
          <a:endParaRPr lang="ru-RU"/>
        </a:p>
      </dgm:t>
    </dgm:pt>
    <dgm:pt modelId="{8003969D-58D4-4199-A2A8-32BC7A9972D8}" type="sibTrans" cxnId="{C41BA78D-D0BD-4AC7-9166-DA297C5A328C}">
      <dgm:prSet/>
      <dgm:spPr/>
      <dgm:t>
        <a:bodyPr/>
        <a:lstStyle/>
        <a:p>
          <a:endParaRPr lang="ru-RU"/>
        </a:p>
      </dgm:t>
    </dgm:pt>
    <dgm:pt modelId="{5355A860-E8BC-4F48-ACE0-957B2385F581}">
      <dgm:prSet phldrT="[Текст]" custT="1"/>
      <dgm:spPr/>
      <dgm:t>
        <a:bodyPr/>
        <a:lstStyle/>
        <a:p>
          <a:r>
            <a:rPr lang="ru-RU" sz="1800" dirty="0" smtClean="0"/>
            <a:t>Выделено –            </a:t>
          </a:r>
          <a:r>
            <a:rPr lang="ru-RU" sz="1800" b="1" dirty="0" smtClean="0"/>
            <a:t>161 млн. руб.</a:t>
          </a:r>
          <a:endParaRPr lang="ru-RU" sz="1800" b="1" dirty="0"/>
        </a:p>
      </dgm:t>
    </dgm:pt>
    <dgm:pt modelId="{20C35F22-0186-4821-96DE-E5F213BAC5FD}" type="parTrans" cxnId="{9526BC7B-C699-4430-AF43-BC5DB2A4B757}">
      <dgm:prSet/>
      <dgm:spPr/>
      <dgm:t>
        <a:bodyPr/>
        <a:lstStyle/>
        <a:p>
          <a:endParaRPr lang="ru-RU"/>
        </a:p>
      </dgm:t>
    </dgm:pt>
    <dgm:pt modelId="{A8B1B04C-D61E-44D1-811E-7068B6CCF538}" type="sibTrans" cxnId="{9526BC7B-C699-4430-AF43-BC5DB2A4B757}">
      <dgm:prSet/>
      <dgm:spPr/>
      <dgm:t>
        <a:bodyPr/>
        <a:lstStyle/>
        <a:p>
          <a:endParaRPr lang="ru-RU"/>
        </a:p>
      </dgm:t>
    </dgm:pt>
    <dgm:pt modelId="{BFCDBF96-F0FD-430A-85B5-43ADF2E1BACB}">
      <dgm:prSet phldrT="[Текст]" custT="1"/>
      <dgm:spPr/>
      <dgm:t>
        <a:bodyPr/>
        <a:lstStyle/>
        <a:p>
          <a:r>
            <a:rPr lang="ru-RU" sz="1800" dirty="0" smtClean="0"/>
            <a:t>Исполнено -   </a:t>
          </a:r>
          <a:r>
            <a:rPr lang="ru-RU" sz="1800" b="1" dirty="0" smtClean="0"/>
            <a:t>161 млн. руб.</a:t>
          </a:r>
          <a:endParaRPr lang="ru-RU" sz="1800" b="1" dirty="0"/>
        </a:p>
      </dgm:t>
    </dgm:pt>
    <dgm:pt modelId="{5C88C8FA-C76E-4DC1-A4F8-836446692580}" type="parTrans" cxnId="{1B0CF4FF-8228-4943-BC91-AB9C14FEA3F6}">
      <dgm:prSet/>
      <dgm:spPr/>
      <dgm:t>
        <a:bodyPr/>
        <a:lstStyle/>
        <a:p>
          <a:endParaRPr lang="ru-RU"/>
        </a:p>
      </dgm:t>
    </dgm:pt>
    <dgm:pt modelId="{01DCE9E9-5920-4F0E-8AB9-D4042C176023}" type="sibTrans" cxnId="{1B0CF4FF-8228-4943-BC91-AB9C14FEA3F6}">
      <dgm:prSet/>
      <dgm:spPr/>
      <dgm:t>
        <a:bodyPr/>
        <a:lstStyle/>
        <a:p>
          <a:endParaRPr lang="ru-RU"/>
        </a:p>
      </dgm:t>
    </dgm:pt>
    <dgm:pt modelId="{769D8CEA-C30A-4476-A4D0-4D621A66FA32}">
      <dgm:prSet custT="1"/>
      <dgm:spPr/>
      <dgm:t>
        <a:bodyPr/>
        <a:lstStyle/>
        <a:p>
          <a:r>
            <a:rPr lang="ru-RU" sz="1800" dirty="0" smtClean="0"/>
            <a:t>Процент освоения - </a:t>
          </a:r>
          <a:r>
            <a:rPr lang="ru-RU" sz="1800" b="1" dirty="0" smtClean="0"/>
            <a:t>100</a:t>
          </a:r>
          <a:endParaRPr lang="ru-RU" sz="1800" b="1" dirty="0"/>
        </a:p>
      </dgm:t>
    </dgm:pt>
    <dgm:pt modelId="{EBFF002F-17FF-4017-AAFA-7BD5D9E68A57}" type="parTrans" cxnId="{070D3038-78AD-4856-B920-7BEA425432AC}">
      <dgm:prSet/>
      <dgm:spPr/>
      <dgm:t>
        <a:bodyPr/>
        <a:lstStyle/>
        <a:p>
          <a:endParaRPr lang="ru-RU"/>
        </a:p>
      </dgm:t>
    </dgm:pt>
    <dgm:pt modelId="{B36A46D9-703F-4669-A93D-621D629FF489}" type="sibTrans" cxnId="{070D3038-78AD-4856-B920-7BEA425432AC}">
      <dgm:prSet/>
      <dgm:spPr/>
      <dgm:t>
        <a:bodyPr/>
        <a:lstStyle/>
        <a:p>
          <a:endParaRPr lang="ru-RU"/>
        </a:p>
      </dgm:t>
    </dgm:pt>
    <dgm:pt modelId="{36B5D7F3-8063-43BD-8925-1AB0489327AE}">
      <dgm:prSet phldrT="[Текст]" custT="1"/>
      <dgm:spPr>
        <a:solidFill>
          <a:srgbClr val="FFBCBC"/>
        </a:solidFill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«Комплексная система обращения с твердыми коммунальными отходами»</a:t>
          </a:r>
          <a:endParaRPr lang="ru-RU" sz="1200" dirty="0">
            <a:solidFill>
              <a:schemeClr val="tx1"/>
            </a:solidFill>
          </a:endParaRPr>
        </a:p>
      </dgm:t>
    </dgm:pt>
    <dgm:pt modelId="{536B17EB-B8A1-4B3B-BE05-E6C5C5859ADF}" type="parTrans" cxnId="{D558E5B4-C756-457A-859F-ECF04D597C61}">
      <dgm:prSet/>
      <dgm:spPr/>
      <dgm:t>
        <a:bodyPr/>
        <a:lstStyle/>
        <a:p>
          <a:endParaRPr lang="ru-RU"/>
        </a:p>
      </dgm:t>
    </dgm:pt>
    <dgm:pt modelId="{4DC864E2-527D-4D27-8BD0-9EEFB2CA1661}" type="sibTrans" cxnId="{D558E5B4-C756-457A-859F-ECF04D597C61}">
      <dgm:prSet/>
      <dgm:spPr/>
      <dgm:t>
        <a:bodyPr/>
        <a:lstStyle/>
        <a:p>
          <a:endParaRPr lang="ru-RU"/>
        </a:p>
      </dgm:t>
    </dgm:pt>
    <dgm:pt modelId="{858B8B1B-F64C-41C6-A7CB-0F69EA117047}">
      <dgm:prSet phldrT="[Текст]" custT="1"/>
      <dgm:spPr/>
      <dgm:t>
        <a:bodyPr/>
        <a:lstStyle/>
        <a:p>
          <a:r>
            <a:rPr lang="ru-RU" sz="1800" dirty="0" smtClean="0"/>
            <a:t>Выделено –  </a:t>
          </a:r>
          <a:r>
            <a:rPr lang="ru-RU" sz="1800" b="1" dirty="0" smtClean="0"/>
            <a:t>91,9 млн. руб.</a:t>
          </a:r>
          <a:endParaRPr lang="ru-RU" sz="1800" b="1" dirty="0"/>
        </a:p>
      </dgm:t>
    </dgm:pt>
    <dgm:pt modelId="{D0D9602A-251F-4BDB-8074-835663B038CE}" type="parTrans" cxnId="{66A5E971-9687-4658-9E86-207CF779048C}">
      <dgm:prSet/>
      <dgm:spPr/>
      <dgm:t>
        <a:bodyPr/>
        <a:lstStyle/>
        <a:p>
          <a:endParaRPr lang="ru-RU"/>
        </a:p>
      </dgm:t>
    </dgm:pt>
    <dgm:pt modelId="{BE5C725C-6A8F-4A12-902C-C9115C54224A}" type="sibTrans" cxnId="{66A5E971-9687-4658-9E86-207CF779048C}">
      <dgm:prSet/>
      <dgm:spPr/>
      <dgm:t>
        <a:bodyPr/>
        <a:lstStyle/>
        <a:p>
          <a:endParaRPr lang="ru-RU"/>
        </a:p>
      </dgm:t>
    </dgm:pt>
    <dgm:pt modelId="{E83CDDD7-D2CE-4279-AB86-321ED26F2730}">
      <dgm:prSet phldrT="[Текст]" custT="1"/>
      <dgm:spPr/>
      <dgm:t>
        <a:bodyPr/>
        <a:lstStyle/>
        <a:p>
          <a:r>
            <a:rPr lang="ru-RU" sz="1800" dirty="0" smtClean="0"/>
            <a:t>Исполнено – </a:t>
          </a:r>
          <a:r>
            <a:rPr lang="ru-RU" sz="1800" b="1" dirty="0" smtClean="0"/>
            <a:t>91,9 млн. руб.</a:t>
          </a:r>
          <a:endParaRPr lang="ru-RU" sz="1800" b="1" dirty="0"/>
        </a:p>
      </dgm:t>
    </dgm:pt>
    <dgm:pt modelId="{C84315FF-BBC7-4BC5-8B24-094B5B472F82}" type="parTrans" cxnId="{BB5D434E-7786-4F83-ACAC-DCC4DBCF53CB}">
      <dgm:prSet/>
      <dgm:spPr/>
      <dgm:t>
        <a:bodyPr/>
        <a:lstStyle/>
        <a:p>
          <a:endParaRPr lang="ru-RU"/>
        </a:p>
      </dgm:t>
    </dgm:pt>
    <dgm:pt modelId="{59C87165-8A61-46BC-9FC4-59ECECDDD528}" type="sibTrans" cxnId="{BB5D434E-7786-4F83-ACAC-DCC4DBCF53CB}">
      <dgm:prSet/>
      <dgm:spPr/>
      <dgm:t>
        <a:bodyPr/>
        <a:lstStyle/>
        <a:p>
          <a:endParaRPr lang="ru-RU"/>
        </a:p>
      </dgm:t>
    </dgm:pt>
    <dgm:pt modelId="{C3746424-265B-496F-9FDF-70CBCFE641F7}">
      <dgm:prSet custT="1"/>
      <dgm:spPr/>
      <dgm:t>
        <a:bodyPr/>
        <a:lstStyle/>
        <a:p>
          <a:r>
            <a:rPr lang="ru-RU" sz="1800" dirty="0" smtClean="0"/>
            <a:t>Процент освоения - </a:t>
          </a:r>
          <a:r>
            <a:rPr lang="ru-RU" sz="1800" b="1" dirty="0" smtClean="0"/>
            <a:t>100</a:t>
          </a:r>
          <a:endParaRPr lang="ru-RU" sz="1800" b="1" dirty="0"/>
        </a:p>
      </dgm:t>
    </dgm:pt>
    <dgm:pt modelId="{68C16FB2-8EB1-468F-9AB8-BD54B328A78D}" type="parTrans" cxnId="{F975D5AB-A3E0-4EE5-BCD1-611B5B26E463}">
      <dgm:prSet/>
      <dgm:spPr/>
      <dgm:t>
        <a:bodyPr/>
        <a:lstStyle/>
        <a:p>
          <a:endParaRPr lang="ru-RU"/>
        </a:p>
      </dgm:t>
    </dgm:pt>
    <dgm:pt modelId="{7B0BC720-873B-4A6A-948A-6BD219580A29}" type="sibTrans" cxnId="{F975D5AB-A3E0-4EE5-BCD1-611B5B26E463}">
      <dgm:prSet/>
      <dgm:spPr/>
      <dgm:t>
        <a:bodyPr/>
        <a:lstStyle/>
        <a:p>
          <a:endParaRPr lang="ru-RU"/>
        </a:p>
      </dgm:t>
    </dgm:pt>
    <dgm:pt modelId="{0687763E-A8E9-4CA1-A48E-5CC994E91746}">
      <dgm:prSet phldrT="[Текст]" custT="1"/>
      <dgm:spPr>
        <a:solidFill>
          <a:srgbClr val="FFBCBC"/>
        </a:solidFill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«Сохранение озера Байкал»</a:t>
          </a:r>
          <a:endParaRPr lang="ru-RU" sz="1800" dirty="0">
            <a:solidFill>
              <a:schemeClr val="tx1"/>
            </a:solidFill>
          </a:endParaRPr>
        </a:p>
      </dgm:t>
    </dgm:pt>
    <dgm:pt modelId="{C15E6930-0A64-4B1F-9267-68C271126382}" type="parTrans" cxnId="{58C6A160-C2B0-49F3-B223-8CD8B82C241E}">
      <dgm:prSet/>
      <dgm:spPr/>
      <dgm:t>
        <a:bodyPr/>
        <a:lstStyle/>
        <a:p>
          <a:endParaRPr lang="ru-RU"/>
        </a:p>
      </dgm:t>
    </dgm:pt>
    <dgm:pt modelId="{FEDF5452-B180-43FB-9603-58572FA40087}" type="sibTrans" cxnId="{58C6A160-C2B0-49F3-B223-8CD8B82C241E}">
      <dgm:prSet/>
      <dgm:spPr/>
      <dgm:t>
        <a:bodyPr/>
        <a:lstStyle/>
        <a:p>
          <a:endParaRPr lang="ru-RU"/>
        </a:p>
      </dgm:t>
    </dgm:pt>
    <dgm:pt modelId="{CCBE152C-AD24-4A75-A357-556463343A31}">
      <dgm:prSet phldrT="[Текст]"/>
      <dgm:spPr/>
      <dgm:t>
        <a:bodyPr/>
        <a:lstStyle/>
        <a:p>
          <a:r>
            <a:rPr lang="ru-RU" dirty="0" smtClean="0"/>
            <a:t>ГРБС – Министерство строительства, дорожного хозяйства и транспорта Забайкальского края </a:t>
          </a:r>
          <a:endParaRPr lang="ru-RU" b="1" dirty="0"/>
        </a:p>
      </dgm:t>
    </dgm:pt>
    <dgm:pt modelId="{704E9AEC-5741-409F-ADB7-F42848EA8ACC}" type="parTrans" cxnId="{DDA205D1-A231-40CD-941A-AB0025BAA91D}">
      <dgm:prSet/>
      <dgm:spPr/>
      <dgm:t>
        <a:bodyPr/>
        <a:lstStyle/>
        <a:p>
          <a:endParaRPr lang="ru-RU"/>
        </a:p>
      </dgm:t>
    </dgm:pt>
    <dgm:pt modelId="{BF0ACF6C-4AF8-4863-A7D8-DF5E583A6560}" type="sibTrans" cxnId="{DDA205D1-A231-40CD-941A-AB0025BAA91D}">
      <dgm:prSet/>
      <dgm:spPr/>
      <dgm:t>
        <a:bodyPr/>
        <a:lstStyle/>
        <a:p>
          <a:endParaRPr lang="ru-RU"/>
        </a:p>
      </dgm:t>
    </dgm:pt>
    <dgm:pt modelId="{999F1CF8-DA77-4A5F-B53F-849E5163D8B3}">
      <dgm:prSet/>
      <dgm:spPr/>
      <dgm:t>
        <a:bodyPr/>
        <a:lstStyle/>
        <a:p>
          <a:r>
            <a:rPr lang="ru-RU" dirty="0" smtClean="0"/>
            <a:t>- строительство очистных сооружений в п. Тарбагатай Петровск-Забайкальского р-на, </a:t>
          </a:r>
        </a:p>
        <a:p>
          <a:r>
            <a:rPr lang="ru-RU" dirty="0" smtClean="0"/>
            <a:t>- строительство очистных </a:t>
          </a:r>
          <a:r>
            <a:rPr lang="ru-RU" dirty="0" err="1" smtClean="0"/>
            <a:t>сооруженийст</a:t>
          </a:r>
          <a:r>
            <a:rPr lang="ru-RU" dirty="0" smtClean="0"/>
            <a:t>. </a:t>
          </a:r>
          <a:r>
            <a:rPr lang="ru-RU" dirty="0" err="1" smtClean="0"/>
            <a:t>Жипхеген</a:t>
          </a:r>
          <a:r>
            <a:rPr lang="ru-RU" dirty="0" smtClean="0"/>
            <a:t> </a:t>
          </a:r>
          <a:r>
            <a:rPr lang="ru-RU" dirty="0" err="1" smtClean="0"/>
            <a:t>Хилокского</a:t>
          </a:r>
          <a:r>
            <a:rPr lang="ru-RU" dirty="0" smtClean="0"/>
            <a:t> р-на, </a:t>
          </a:r>
        </a:p>
        <a:p>
          <a:r>
            <a:rPr lang="ru-RU" dirty="0" smtClean="0"/>
            <a:t> - реконструкция  очистных сооружений г. Хилок</a:t>
          </a:r>
        </a:p>
        <a:p>
          <a:r>
            <a:rPr lang="ru-RU" dirty="0" smtClean="0"/>
            <a:t>БА 2021г. – 199,6 млн. руб.</a:t>
          </a:r>
        </a:p>
        <a:p>
          <a:r>
            <a:rPr lang="ru-RU" dirty="0" smtClean="0"/>
            <a:t>БА 2022г. – 205,3 млн. руб.</a:t>
          </a:r>
          <a:endParaRPr lang="ru-RU" dirty="0"/>
        </a:p>
      </dgm:t>
    </dgm:pt>
    <dgm:pt modelId="{A0813F33-41B6-4080-8DC8-5A83F106EE29}" type="parTrans" cxnId="{89374C09-CADA-4F9F-9145-4D9999617238}">
      <dgm:prSet/>
      <dgm:spPr/>
      <dgm:t>
        <a:bodyPr/>
        <a:lstStyle/>
        <a:p>
          <a:endParaRPr lang="ru-RU"/>
        </a:p>
      </dgm:t>
    </dgm:pt>
    <dgm:pt modelId="{8A94C525-8F22-47D2-8DD6-49F50B31D11A}" type="sibTrans" cxnId="{89374C09-CADA-4F9F-9145-4D9999617238}">
      <dgm:prSet/>
      <dgm:spPr/>
      <dgm:t>
        <a:bodyPr/>
        <a:lstStyle/>
        <a:p>
          <a:endParaRPr lang="ru-RU"/>
        </a:p>
      </dgm:t>
    </dgm:pt>
    <dgm:pt modelId="{B93C244A-23A8-41E6-85D8-635D353D42A3}" type="pres">
      <dgm:prSet presAssocID="{AFDB6EBD-F8B6-480F-B2AE-4903A5A011FB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664D90D-6BEA-4340-8CCC-CAD2535BE79E}" type="pres">
      <dgm:prSet presAssocID="{D5CF8696-B8D0-44DD-8B93-E23D05A40AF5}" presName="root" presStyleCnt="0"/>
      <dgm:spPr/>
    </dgm:pt>
    <dgm:pt modelId="{BEC1D95A-625F-4097-8CA5-7FA1B498D771}" type="pres">
      <dgm:prSet presAssocID="{D5CF8696-B8D0-44DD-8B93-E23D05A40AF5}" presName="rootComposite" presStyleCnt="0"/>
      <dgm:spPr/>
    </dgm:pt>
    <dgm:pt modelId="{CE9DE97A-4076-454A-B349-BAF716926771}" type="pres">
      <dgm:prSet presAssocID="{D5CF8696-B8D0-44DD-8B93-E23D05A40AF5}" presName="rootText" presStyleLbl="node1" presStyleIdx="0" presStyleCnt="5" custLinFactNeighborX="957" custLinFactNeighborY="1938"/>
      <dgm:spPr/>
      <dgm:t>
        <a:bodyPr/>
        <a:lstStyle/>
        <a:p>
          <a:endParaRPr lang="ru-RU"/>
        </a:p>
      </dgm:t>
    </dgm:pt>
    <dgm:pt modelId="{9D1478C3-45AA-4D6D-8273-C3A62A96A928}" type="pres">
      <dgm:prSet presAssocID="{D5CF8696-B8D0-44DD-8B93-E23D05A40AF5}" presName="rootConnector" presStyleLbl="node1" presStyleIdx="0" presStyleCnt="5"/>
      <dgm:spPr/>
      <dgm:t>
        <a:bodyPr/>
        <a:lstStyle/>
        <a:p>
          <a:endParaRPr lang="ru-RU"/>
        </a:p>
      </dgm:t>
    </dgm:pt>
    <dgm:pt modelId="{C5CA00D1-4C3F-4F73-A688-4C0955544F54}" type="pres">
      <dgm:prSet presAssocID="{D5CF8696-B8D0-44DD-8B93-E23D05A40AF5}" presName="childShape" presStyleCnt="0"/>
      <dgm:spPr/>
    </dgm:pt>
    <dgm:pt modelId="{C15319B2-D3F1-4163-AD5B-3EDCDBA7268D}" type="pres">
      <dgm:prSet presAssocID="{5EB7F00B-20CE-41EA-AF7A-53AE770B2F89}" presName="Name13" presStyleLbl="parChTrans1D2" presStyleIdx="0" presStyleCnt="14"/>
      <dgm:spPr/>
      <dgm:t>
        <a:bodyPr/>
        <a:lstStyle/>
        <a:p>
          <a:endParaRPr lang="ru-RU"/>
        </a:p>
      </dgm:t>
    </dgm:pt>
    <dgm:pt modelId="{A273C08E-0461-4063-85F7-17CBFE7F93D8}" type="pres">
      <dgm:prSet presAssocID="{C653CB5A-8F9C-40E0-8101-AA58BD9BAF17}" presName="childText" presStyleLbl="bgAcc1" presStyleIdx="0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D05C1D-8316-472D-B84D-5B43BB52DC00}" type="pres">
      <dgm:prSet presAssocID="{6F68A87C-BE6A-414A-A2A9-E912D6D70C26}" presName="Name13" presStyleLbl="parChTrans1D2" presStyleIdx="1" presStyleCnt="14"/>
      <dgm:spPr/>
      <dgm:t>
        <a:bodyPr/>
        <a:lstStyle/>
        <a:p>
          <a:endParaRPr lang="ru-RU"/>
        </a:p>
      </dgm:t>
    </dgm:pt>
    <dgm:pt modelId="{11D60484-DE0D-49CD-9399-C4AE8EF8509E}" type="pres">
      <dgm:prSet presAssocID="{9F6B9967-0130-42CE-9103-2A7E31F47C1A}" presName="childText" presStyleLbl="bgAcc1" presStyleIdx="1" presStyleCnt="14" custLinFactNeighborY="-9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883081-54D6-4C4E-ABC0-27F702F59016}" type="pres">
      <dgm:prSet presAssocID="{B4A579E2-582C-4E0D-A57C-7901899F59CB}" presName="Name13" presStyleLbl="parChTrans1D2" presStyleIdx="2" presStyleCnt="14"/>
      <dgm:spPr/>
      <dgm:t>
        <a:bodyPr/>
        <a:lstStyle/>
        <a:p>
          <a:endParaRPr lang="ru-RU"/>
        </a:p>
      </dgm:t>
    </dgm:pt>
    <dgm:pt modelId="{AADDC0D9-43CF-48DB-88E3-123D829A30A0}" type="pres">
      <dgm:prSet presAssocID="{4AD4BF52-DF04-4FAF-AEC5-2D87058495A0}" presName="childText" presStyleLbl="bgAcc1" presStyleIdx="2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0BC0DB-D9F9-40BF-9440-E0107009A152}" type="pres">
      <dgm:prSet presAssocID="{03783450-EED4-49D9-98B0-4E0B01D3E56B}" presName="root" presStyleCnt="0"/>
      <dgm:spPr/>
    </dgm:pt>
    <dgm:pt modelId="{86D4F25A-318D-42CF-888C-76B911C4356B}" type="pres">
      <dgm:prSet presAssocID="{03783450-EED4-49D9-98B0-4E0B01D3E56B}" presName="rootComposite" presStyleCnt="0"/>
      <dgm:spPr/>
    </dgm:pt>
    <dgm:pt modelId="{9BD4DA0F-AE50-42E9-A05F-A29D70E5E02A}" type="pres">
      <dgm:prSet presAssocID="{03783450-EED4-49D9-98B0-4E0B01D3E56B}" presName="rootText" presStyleLbl="node1" presStyleIdx="1" presStyleCnt="5"/>
      <dgm:spPr/>
      <dgm:t>
        <a:bodyPr/>
        <a:lstStyle/>
        <a:p>
          <a:endParaRPr lang="ru-RU"/>
        </a:p>
      </dgm:t>
    </dgm:pt>
    <dgm:pt modelId="{1960E4A1-A34E-42B1-9B73-775A75D3C22F}" type="pres">
      <dgm:prSet presAssocID="{03783450-EED4-49D9-98B0-4E0B01D3E56B}" presName="rootConnector" presStyleLbl="node1" presStyleIdx="1" presStyleCnt="5"/>
      <dgm:spPr/>
      <dgm:t>
        <a:bodyPr/>
        <a:lstStyle/>
        <a:p>
          <a:endParaRPr lang="ru-RU"/>
        </a:p>
      </dgm:t>
    </dgm:pt>
    <dgm:pt modelId="{5C8064F3-3C9D-47DE-98D3-3B5601A4445B}" type="pres">
      <dgm:prSet presAssocID="{03783450-EED4-49D9-98B0-4E0B01D3E56B}" presName="childShape" presStyleCnt="0"/>
      <dgm:spPr/>
    </dgm:pt>
    <dgm:pt modelId="{A1758D23-3EBE-4C86-A2F4-8858670585C9}" type="pres">
      <dgm:prSet presAssocID="{D0716846-C186-47DE-AB97-9F58BD372E9A}" presName="Name13" presStyleLbl="parChTrans1D2" presStyleIdx="3" presStyleCnt="14"/>
      <dgm:spPr/>
      <dgm:t>
        <a:bodyPr/>
        <a:lstStyle/>
        <a:p>
          <a:endParaRPr lang="ru-RU"/>
        </a:p>
      </dgm:t>
    </dgm:pt>
    <dgm:pt modelId="{240A9F26-041C-43E4-9E2A-0AEEA67CEBCC}" type="pres">
      <dgm:prSet presAssocID="{5EECD23F-0627-4994-B758-ECEF27F5AF85}" presName="childText" presStyleLbl="bgAcc1" presStyleIdx="3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65FA27-A534-45E1-A776-56D0E5F6FF57}" type="pres">
      <dgm:prSet presAssocID="{A9EC0C29-DEF5-4334-9478-0208FE4DD40B}" presName="Name13" presStyleLbl="parChTrans1D2" presStyleIdx="4" presStyleCnt="14"/>
      <dgm:spPr/>
      <dgm:t>
        <a:bodyPr/>
        <a:lstStyle/>
        <a:p>
          <a:endParaRPr lang="ru-RU"/>
        </a:p>
      </dgm:t>
    </dgm:pt>
    <dgm:pt modelId="{D05A7BC1-8E15-477D-B6F1-1760A7694355}" type="pres">
      <dgm:prSet presAssocID="{2BD8BA2A-7431-4E27-ACDE-E7323F316BC6}" presName="childText" presStyleLbl="bgAcc1" presStyleIdx="4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BF54A1-40A8-4608-90A2-8F85A117B2CF}" type="pres">
      <dgm:prSet presAssocID="{D5F43353-6B80-4939-88A8-B1B33B38B7FD}" presName="Name13" presStyleLbl="parChTrans1D2" presStyleIdx="5" presStyleCnt="14"/>
      <dgm:spPr/>
      <dgm:t>
        <a:bodyPr/>
        <a:lstStyle/>
        <a:p>
          <a:endParaRPr lang="ru-RU"/>
        </a:p>
      </dgm:t>
    </dgm:pt>
    <dgm:pt modelId="{941FF856-1127-42CC-A8F5-9FF18D9778E1}" type="pres">
      <dgm:prSet presAssocID="{C7B83C59-02C1-44E1-86ED-2FAEB21E1054}" presName="childText" presStyleLbl="bgAcc1" presStyleIdx="5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A170A1-B9F1-49D1-AA25-8B936D5B35CA}" type="pres">
      <dgm:prSet presAssocID="{327D4628-8160-4834-9C6C-27CBB76BEB7D}" presName="root" presStyleCnt="0"/>
      <dgm:spPr/>
    </dgm:pt>
    <dgm:pt modelId="{7DA725A6-AF28-46F7-946D-766EAC6596B0}" type="pres">
      <dgm:prSet presAssocID="{327D4628-8160-4834-9C6C-27CBB76BEB7D}" presName="rootComposite" presStyleCnt="0"/>
      <dgm:spPr/>
    </dgm:pt>
    <dgm:pt modelId="{72307DDA-19B4-4C23-AC4B-DB326241BF3E}" type="pres">
      <dgm:prSet presAssocID="{327D4628-8160-4834-9C6C-27CBB76BEB7D}" presName="rootText" presStyleLbl="node1" presStyleIdx="2" presStyleCnt="5" custLinFactNeighborX="1914" custLinFactNeighborY="1938"/>
      <dgm:spPr/>
      <dgm:t>
        <a:bodyPr/>
        <a:lstStyle/>
        <a:p>
          <a:endParaRPr lang="ru-RU"/>
        </a:p>
      </dgm:t>
    </dgm:pt>
    <dgm:pt modelId="{89B1BF5D-0EA9-4420-BE1B-96C284C116A1}" type="pres">
      <dgm:prSet presAssocID="{327D4628-8160-4834-9C6C-27CBB76BEB7D}" presName="rootConnector" presStyleLbl="node1" presStyleIdx="2" presStyleCnt="5"/>
      <dgm:spPr/>
      <dgm:t>
        <a:bodyPr/>
        <a:lstStyle/>
        <a:p>
          <a:endParaRPr lang="ru-RU"/>
        </a:p>
      </dgm:t>
    </dgm:pt>
    <dgm:pt modelId="{46BEADB9-99B7-467B-B657-DBF989EB3773}" type="pres">
      <dgm:prSet presAssocID="{327D4628-8160-4834-9C6C-27CBB76BEB7D}" presName="childShape" presStyleCnt="0"/>
      <dgm:spPr/>
    </dgm:pt>
    <dgm:pt modelId="{7CDADDB7-4941-4553-9004-FD3C568B3153}" type="pres">
      <dgm:prSet presAssocID="{20C35F22-0186-4821-96DE-E5F213BAC5FD}" presName="Name13" presStyleLbl="parChTrans1D2" presStyleIdx="6" presStyleCnt="14"/>
      <dgm:spPr/>
      <dgm:t>
        <a:bodyPr/>
        <a:lstStyle/>
        <a:p>
          <a:endParaRPr lang="ru-RU"/>
        </a:p>
      </dgm:t>
    </dgm:pt>
    <dgm:pt modelId="{6D4D5F45-2C31-47A1-9DDB-1F281B080533}" type="pres">
      <dgm:prSet presAssocID="{5355A860-E8BC-4F48-ACE0-957B2385F581}" presName="childText" presStyleLbl="bgAcc1" presStyleIdx="6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068B93-BC4E-4BDA-BCAE-1DA2F2E2B2A7}" type="pres">
      <dgm:prSet presAssocID="{5C88C8FA-C76E-4DC1-A4F8-836446692580}" presName="Name13" presStyleLbl="parChTrans1D2" presStyleIdx="7" presStyleCnt="14"/>
      <dgm:spPr/>
      <dgm:t>
        <a:bodyPr/>
        <a:lstStyle/>
        <a:p>
          <a:endParaRPr lang="ru-RU"/>
        </a:p>
      </dgm:t>
    </dgm:pt>
    <dgm:pt modelId="{DDE79819-FEB8-4BF0-AC3B-7E0D68BF17B8}" type="pres">
      <dgm:prSet presAssocID="{BFCDBF96-F0FD-430A-85B5-43ADF2E1BACB}" presName="childText" presStyleLbl="bgAcc1" presStyleIdx="7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3C2432-0E26-4008-B20C-24061748BBAC}" type="pres">
      <dgm:prSet presAssocID="{EBFF002F-17FF-4017-AAFA-7BD5D9E68A57}" presName="Name13" presStyleLbl="parChTrans1D2" presStyleIdx="8" presStyleCnt="14"/>
      <dgm:spPr/>
      <dgm:t>
        <a:bodyPr/>
        <a:lstStyle/>
        <a:p>
          <a:endParaRPr lang="ru-RU"/>
        </a:p>
      </dgm:t>
    </dgm:pt>
    <dgm:pt modelId="{C41C5431-2CF2-4587-A10A-07A77F68AD50}" type="pres">
      <dgm:prSet presAssocID="{769D8CEA-C30A-4476-A4D0-4D621A66FA32}" presName="childText" presStyleLbl="bgAcc1" presStyleIdx="8" presStyleCnt="14" custLinFactNeighborX="-1138" custLinFactNeighborY="9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9CAAB4-CF32-4B00-8628-C63C750D36EE}" type="pres">
      <dgm:prSet presAssocID="{36B5D7F3-8063-43BD-8925-1AB0489327AE}" presName="root" presStyleCnt="0"/>
      <dgm:spPr/>
    </dgm:pt>
    <dgm:pt modelId="{E94BC526-5346-4250-803B-FEA3F43F19CE}" type="pres">
      <dgm:prSet presAssocID="{36B5D7F3-8063-43BD-8925-1AB0489327AE}" presName="rootComposite" presStyleCnt="0"/>
      <dgm:spPr/>
    </dgm:pt>
    <dgm:pt modelId="{9A8FFFA5-D6ED-4325-AF4B-D0D60F5FD893}" type="pres">
      <dgm:prSet presAssocID="{36B5D7F3-8063-43BD-8925-1AB0489327AE}" presName="rootText" presStyleLbl="node1" presStyleIdx="3" presStyleCnt="5"/>
      <dgm:spPr/>
      <dgm:t>
        <a:bodyPr/>
        <a:lstStyle/>
        <a:p>
          <a:endParaRPr lang="ru-RU"/>
        </a:p>
      </dgm:t>
    </dgm:pt>
    <dgm:pt modelId="{11EF8662-8368-43C5-847C-A7A2977A8DE7}" type="pres">
      <dgm:prSet presAssocID="{36B5D7F3-8063-43BD-8925-1AB0489327AE}" presName="rootConnector" presStyleLbl="node1" presStyleIdx="3" presStyleCnt="5"/>
      <dgm:spPr/>
      <dgm:t>
        <a:bodyPr/>
        <a:lstStyle/>
        <a:p>
          <a:endParaRPr lang="ru-RU"/>
        </a:p>
      </dgm:t>
    </dgm:pt>
    <dgm:pt modelId="{2D33DB55-EC17-452A-B499-A8B9AA7BD5D8}" type="pres">
      <dgm:prSet presAssocID="{36B5D7F3-8063-43BD-8925-1AB0489327AE}" presName="childShape" presStyleCnt="0"/>
      <dgm:spPr/>
    </dgm:pt>
    <dgm:pt modelId="{520A828A-7CC7-47A7-B334-71EF9E65327A}" type="pres">
      <dgm:prSet presAssocID="{D0D9602A-251F-4BDB-8074-835663B038CE}" presName="Name13" presStyleLbl="parChTrans1D2" presStyleIdx="9" presStyleCnt="14"/>
      <dgm:spPr/>
      <dgm:t>
        <a:bodyPr/>
        <a:lstStyle/>
        <a:p>
          <a:endParaRPr lang="ru-RU"/>
        </a:p>
      </dgm:t>
    </dgm:pt>
    <dgm:pt modelId="{E69C9FAA-11B5-4795-BEE9-21669FAB48E3}" type="pres">
      <dgm:prSet presAssocID="{858B8B1B-F64C-41C6-A7CB-0F69EA117047}" presName="childText" presStyleLbl="bgAcc1" presStyleIdx="9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9C4EBA-BE15-4A2E-A5A2-1FBADE05A726}" type="pres">
      <dgm:prSet presAssocID="{C84315FF-BBC7-4BC5-8B24-094B5B472F82}" presName="Name13" presStyleLbl="parChTrans1D2" presStyleIdx="10" presStyleCnt="14"/>
      <dgm:spPr/>
      <dgm:t>
        <a:bodyPr/>
        <a:lstStyle/>
        <a:p>
          <a:endParaRPr lang="ru-RU"/>
        </a:p>
      </dgm:t>
    </dgm:pt>
    <dgm:pt modelId="{9D2A261F-B039-4C1E-937F-D2660B3090B1}" type="pres">
      <dgm:prSet presAssocID="{E83CDDD7-D2CE-4279-AB86-321ED26F2730}" presName="childText" presStyleLbl="bgAcc1" presStyleIdx="10" presStyleCnt="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1F9BD2-1F96-46FB-9B13-4C9A8F76CDD8}" type="pres">
      <dgm:prSet presAssocID="{68C16FB2-8EB1-468F-9AB8-BD54B328A78D}" presName="Name13" presStyleLbl="parChTrans1D2" presStyleIdx="11" presStyleCnt="14"/>
      <dgm:spPr/>
      <dgm:t>
        <a:bodyPr/>
        <a:lstStyle/>
        <a:p>
          <a:endParaRPr lang="ru-RU"/>
        </a:p>
      </dgm:t>
    </dgm:pt>
    <dgm:pt modelId="{6F37918B-B083-462C-AEA3-F85694A2C38D}" type="pres">
      <dgm:prSet presAssocID="{C3746424-265B-496F-9FDF-70CBCFE641F7}" presName="childText" presStyleLbl="bgAcc1" presStyleIdx="11" presStyleCnt="14" custLinFactNeighborX="-2323" custLinFactNeighborY="-12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97B35F-9BDA-4E14-9246-FC2C7C0A97BB}" type="pres">
      <dgm:prSet presAssocID="{0687763E-A8E9-4CA1-A48E-5CC994E91746}" presName="root" presStyleCnt="0"/>
      <dgm:spPr/>
    </dgm:pt>
    <dgm:pt modelId="{3F9BBAB9-CCA3-405F-B5DF-A0C0C187F972}" type="pres">
      <dgm:prSet presAssocID="{0687763E-A8E9-4CA1-A48E-5CC994E91746}" presName="rootComposite" presStyleCnt="0"/>
      <dgm:spPr/>
    </dgm:pt>
    <dgm:pt modelId="{C0CB4FB3-41D2-43C1-94A6-8D4E80F007C9}" type="pres">
      <dgm:prSet presAssocID="{0687763E-A8E9-4CA1-A48E-5CC994E91746}" presName="rootText" presStyleLbl="node1" presStyleIdx="4" presStyleCnt="5" custLinFactNeighborX="-8859"/>
      <dgm:spPr/>
      <dgm:t>
        <a:bodyPr/>
        <a:lstStyle/>
        <a:p>
          <a:endParaRPr lang="ru-RU"/>
        </a:p>
      </dgm:t>
    </dgm:pt>
    <dgm:pt modelId="{38A73C54-B4BE-4DD7-97FB-A16D8C4D38FC}" type="pres">
      <dgm:prSet presAssocID="{0687763E-A8E9-4CA1-A48E-5CC994E91746}" presName="rootConnector" presStyleLbl="node1" presStyleIdx="4" presStyleCnt="5"/>
      <dgm:spPr/>
      <dgm:t>
        <a:bodyPr/>
        <a:lstStyle/>
        <a:p>
          <a:endParaRPr lang="ru-RU"/>
        </a:p>
      </dgm:t>
    </dgm:pt>
    <dgm:pt modelId="{D6FE2B73-B758-4469-87FE-2D241E4A861A}" type="pres">
      <dgm:prSet presAssocID="{0687763E-A8E9-4CA1-A48E-5CC994E91746}" presName="childShape" presStyleCnt="0"/>
      <dgm:spPr/>
    </dgm:pt>
    <dgm:pt modelId="{3011458B-77CE-46D2-A779-B534E650BEF9}" type="pres">
      <dgm:prSet presAssocID="{704E9AEC-5741-409F-ADB7-F42848EA8ACC}" presName="Name13" presStyleLbl="parChTrans1D2" presStyleIdx="12" presStyleCnt="14"/>
      <dgm:spPr/>
      <dgm:t>
        <a:bodyPr/>
        <a:lstStyle/>
        <a:p>
          <a:endParaRPr lang="ru-RU"/>
        </a:p>
      </dgm:t>
    </dgm:pt>
    <dgm:pt modelId="{276B28E8-8A19-4BBF-BA24-3765681958AE}" type="pres">
      <dgm:prSet presAssocID="{CCBE152C-AD24-4A75-A357-556463343A31}" presName="childText" presStyleLbl="bgAcc1" presStyleIdx="12" presStyleCnt="14" custScaleX="82278" custLinFactNeighborX="-18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905EDA-3C3A-4F71-A5B3-C5892FDBCA92}" type="pres">
      <dgm:prSet presAssocID="{A0813F33-41B6-4080-8DC8-5A83F106EE29}" presName="Name13" presStyleLbl="parChTrans1D2" presStyleIdx="13" presStyleCnt="14"/>
      <dgm:spPr/>
      <dgm:t>
        <a:bodyPr/>
        <a:lstStyle/>
        <a:p>
          <a:endParaRPr lang="ru-RU"/>
        </a:p>
      </dgm:t>
    </dgm:pt>
    <dgm:pt modelId="{03480E42-F712-4565-A8B5-C96FA65B37B5}" type="pres">
      <dgm:prSet presAssocID="{999F1CF8-DA77-4A5F-B53F-849E5163D8B3}" presName="childText" presStyleLbl="bgAcc1" presStyleIdx="13" presStyleCnt="14" custScaleX="82277" custScaleY="2459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9A4F190-E8B1-43F2-A910-06C186D5926A}" type="presOf" srcId="{C7B83C59-02C1-44E1-86ED-2FAEB21E1054}" destId="{941FF856-1127-42CC-A8F5-9FF18D9778E1}" srcOrd="0" destOrd="0" presId="urn:microsoft.com/office/officeart/2005/8/layout/hierarchy3"/>
    <dgm:cxn modelId="{C41BA78D-D0BD-4AC7-9166-DA297C5A328C}" srcId="{03783450-EED4-49D9-98B0-4E0B01D3E56B}" destId="{C7B83C59-02C1-44E1-86ED-2FAEB21E1054}" srcOrd="2" destOrd="0" parTransId="{D5F43353-6B80-4939-88A8-B1B33B38B7FD}" sibTransId="{8003969D-58D4-4199-A2A8-32BC7A9972D8}"/>
    <dgm:cxn modelId="{F134B94D-E901-4AF3-94A8-B8245C531E50}" type="presOf" srcId="{C3746424-265B-496F-9FDF-70CBCFE641F7}" destId="{6F37918B-B083-462C-AEA3-F85694A2C38D}" srcOrd="0" destOrd="0" presId="urn:microsoft.com/office/officeart/2005/8/layout/hierarchy3"/>
    <dgm:cxn modelId="{69D0CDFF-6671-4F01-AC23-7B24217EFFFB}" srcId="{D5CF8696-B8D0-44DD-8B93-E23D05A40AF5}" destId="{9F6B9967-0130-42CE-9103-2A7E31F47C1A}" srcOrd="1" destOrd="0" parTransId="{6F68A87C-BE6A-414A-A2A9-E912D6D70C26}" sibTransId="{E2FED3D7-8445-48B3-B5B5-B1E0CEDA9DCB}"/>
    <dgm:cxn modelId="{1B0CF4FF-8228-4943-BC91-AB9C14FEA3F6}" srcId="{327D4628-8160-4834-9C6C-27CBB76BEB7D}" destId="{BFCDBF96-F0FD-430A-85B5-43ADF2E1BACB}" srcOrd="1" destOrd="0" parTransId="{5C88C8FA-C76E-4DC1-A4F8-836446692580}" sibTransId="{01DCE9E9-5920-4F0E-8AB9-D4042C176023}"/>
    <dgm:cxn modelId="{C362B3A7-850F-4189-89B2-6928A8E4201B}" type="presOf" srcId="{D5CF8696-B8D0-44DD-8B93-E23D05A40AF5}" destId="{9D1478C3-45AA-4D6D-8273-C3A62A96A928}" srcOrd="1" destOrd="0" presId="urn:microsoft.com/office/officeart/2005/8/layout/hierarchy3"/>
    <dgm:cxn modelId="{F975D5AB-A3E0-4EE5-BCD1-611B5B26E463}" srcId="{36B5D7F3-8063-43BD-8925-1AB0489327AE}" destId="{C3746424-265B-496F-9FDF-70CBCFE641F7}" srcOrd="2" destOrd="0" parTransId="{68C16FB2-8EB1-468F-9AB8-BD54B328A78D}" sibTransId="{7B0BC720-873B-4A6A-948A-6BD219580A29}"/>
    <dgm:cxn modelId="{62915EE4-34C7-440E-877F-2C4BE30E966B}" type="presOf" srcId="{858B8B1B-F64C-41C6-A7CB-0F69EA117047}" destId="{E69C9FAA-11B5-4795-BEE9-21669FAB48E3}" srcOrd="0" destOrd="0" presId="urn:microsoft.com/office/officeart/2005/8/layout/hierarchy3"/>
    <dgm:cxn modelId="{0FAD808C-51FE-41B4-B8F6-EAAECCDA028A}" type="presOf" srcId="{C84315FF-BBC7-4BC5-8B24-094B5B472F82}" destId="{B89C4EBA-BE15-4A2E-A5A2-1FBADE05A726}" srcOrd="0" destOrd="0" presId="urn:microsoft.com/office/officeart/2005/8/layout/hierarchy3"/>
    <dgm:cxn modelId="{0EF925F0-2883-4A3C-835D-07DC39DA520C}" type="presOf" srcId="{0687763E-A8E9-4CA1-A48E-5CC994E91746}" destId="{38A73C54-B4BE-4DD7-97FB-A16D8C4D38FC}" srcOrd="1" destOrd="0" presId="urn:microsoft.com/office/officeart/2005/8/layout/hierarchy3"/>
    <dgm:cxn modelId="{047B0417-30FC-4EE8-8728-5147C0F7EC96}" type="presOf" srcId="{36B5D7F3-8063-43BD-8925-1AB0489327AE}" destId="{11EF8662-8368-43C5-847C-A7A2977A8DE7}" srcOrd="1" destOrd="0" presId="urn:microsoft.com/office/officeart/2005/8/layout/hierarchy3"/>
    <dgm:cxn modelId="{344F8BA7-9F99-496D-A7B5-B3AFAB318FF1}" type="presOf" srcId="{A0813F33-41B6-4080-8DC8-5A83F106EE29}" destId="{3E905EDA-3C3A-4F71-A5B3-C5892FDBCA92}" srcOrd="0" destOrd="0" presId="urn:microsoft.com/office/officeart/2005/8/layout/hierarchy3"/>
    <dgm:cxn modelId="{89374C09-CADA-4F9F-9145-4D9999617238}" srcId="{0687763E-A8E9-4CA1-A48E-5CC994E91746}" destId="{999F1CF8-DA77-4A5F-B53F-849E5163D8B3}" srcOrd="1" destOrd="0" parTransId="{A0813F33-41B6-4080-8DC8-5A83F106EE29}" sibTransId="{8A94C525-8F22-47D2-8DD6-49F50B31D11A}"/>
    <dgm:cxn modelId="{19C150BC-6987-4E6A-ACB3-17F0EAACBA14}" type="presOf" srcId="{327D4628-8160-4834-9C6C-27CBB76BEB7D}" destId="{89B1BF5D-0EA9-4420-BE1B-96C284C116A1}" srcOrd="1" destOrd="0" presId="urn:microsoft.com/office/officeart/2005/8/layout/hierarchy3"/>
    <dgm:cxn modelId="{B397D809-6E9A-4A05-9DCC-069508F9380D}" type="presOf" srcId="{C653CB5A-8F9C-40E0-8101-AA58BD9BAF17}" destId="{A273C08E-0461-4063-85F7-17CBFE7F93D8}" srcOrd="0" destOrd="0" presId="urn:microsoft.com/office/officeart/2005/8/layout/hierarchy3"/>
    <dgm:cxn modelId="{BB567981-93BD-402B-A02E-935572D833B9}" type="presOf" srcId="{D0716846-C186-47DE-AB97-9F58BD372E9A}" destId="{A1758D23-3EBE-4C86-A2F4-8858670585C9}" srcOrd="0" destOrd="0" presId="urn:microsoft.com/office/officeart/2005/8/layout/hierarchy3"/>
    <dgm:cxn modelId="{4E486A0B-C1B5-4155-ADE8-D9106D87AA72}" type="presOf" srcId="{36B5D7F3-8063-43BD-8925-1AB0489327AE}" destId="{9A8FFFA5-D6ED-4325-AF4B-D0D60F5FD893}" srcOrd="0" destOrd="0" presId="urn:microsoft.com/office/officeart/2005/8/layout/hierarchy3"/>
    <dgm:cxn modelId="{81A2CE46-C085-4718-8417-DE34F4997F02}" type="presOf" srcId="{AFDB6EBD-F8B6-480F-B2AE-4903A5A011FB}" destId="{B93C244A-23A8-41E6-85D8-635D353D42A3}" srcOrd="0" destOrd="0" presId="urn:microsoft.com/office/officeart/2005/8/layout/hierarchy3"/>
    <dgm:cxn modelId="{9526BC7B-C699-4430-AF43-BC5DB2A4B757}" srcId="{327D4628-8160-4834-9C6C-27CBB76BEB7D}" destId="{5355A860-E8BC-4F48-ACE0-957B2385F581}" srcOrd="0" destOrd="0" parTransId="{20C35F22-0186-4821-96DE-E5F213BAC5FD}" sibTransId="{A8B1B04C-D61E-44D1-811E-7068B6CCF538}"/>
    <dgm:cxn modelId="{5127418A-88DE-46E1-BF71-266D52011F24}" type="presOf" srcId="{5EB7F00B-20CE-41EA-AF7A-53AE770B2F89}" destId="{C15319B2-D3F1-4163-AD5B-3EDCDBA7268D}" srcOrd="0" destOrd="0" presId="urn:microsoft.com/office/officeart/2005/8/layout/hierarchy3"/>
    <dgm:cxn modelId="{D689A350-8DA3-4A53-A2CF-CCEAB13D0E91}" srcId="{03783450-EED4-49D9-98B0-4E0B01D3E56B}" destId="{2BD8BA2A-7431-4E27-ACDE-E7323F316BC6}" srcOrd="1" destOrd="0" parTransId="{A9EC0C29-DEF5-4334-9478-0208FE4DD40B}" sibTransId="{3FFAA63B-E3D9-451D-9A9B-44F39825FA91}"/>
    <dgm:cxn modelId="{C6836D44-BEFC-462F-9B3F-2818716BBD58}" type="presOf" srcId="{769D8CEA-C30A-4476-A4D0-4D621A66FA32}" destId="{C41C5431-2CF2-4587-A10A-07A77F68AD50}" srcOrd="0" destOrd="0" presId="urn:microsoft.com/office/officeart/2005/8/layout/hierarchy3"/>
    <dgm:cxn modelId="{BE89C78B-BEB8-46D9-BD2C-91B30511382E}" type="presOf" srcId="{20C35F22-0186-4821-96DE-E5F213BAC5FD}" destId="{7CDADDB7-4941-4553-9004-FD3C568B3153}" srcOrd="0" destOrd="0" presId="urn:microsoft.com/office/officeart/2005/8/layout/hierarchy3"/>
    <dgm:cxn modelId="{D0D2D5B3-4F7E-4A96-94BE-4AF7959F3438}" type="presOf" srcId="{03783450-EED4-49D9-98B0-4E0B01D3E56B}" destId="{9BD4DA0F-AE50-42E9-A05F-A29D70E5E02A}" srcOrd="0" destOrd="0" presId="urn:microsoft.com/office/officeart/2005/8/layout/hierarchy3"/>
    <dgm:cxn modelId="{9FE9167F-E749-409B-AE5B-21B9EC0E6397}" type="presOf" srcId="{999F1CF8-DA77-4A5F-B53F-849E5163D8B3}" destId="{03480E42-F712-4565-A8B5-C96FA65B37B5}" srcOrd="0" destOrd="0" presId="urn:microsoft.com/office/officeart/2005/8/layout/hierarchy3"/>
    <dgm:cxn modelId="{1730CB57-CBE6-4B21-A5FD-F01D6BFFBA5B}" type="presOf" srcId="{CCBE152C-AD24-4A75-A357-556463343A31}" destId="{276B28E8-8A19-4BBF-BA24-3765681958AE}" srcOrd="0" destOrd="0" presId="urn:microsoft.com/office/officeart/2005/8/layout/hierarchy3"/>
    <dgm:cxn modelId="{26A71697-C795-4668-B680-DAAFB2DDA827}" type="presOf" srcId="{4AD4BF52-DF04-4FAF-AEC5-2D87058495A0}" destId="{AADDC0D9-43CF-48DB-88E3-123D829A30A0}" srcOrd="0" destOrd="0" presId="urn:microsoft.com/office/officeart/2005/8/layout/hierarchy3"/>
    <dgm:cxn modelId="{DDA205D1-A231-40CD-941A-AB0025BAA91D}" srcId="{0687763E-A8E9-4CA1-A48E-5CC994E91746}" destId="{CCBE152C-AD24-4A75-A357-556463343A31}" srcOrd="0" destOrd="0" parTransId="{704E9AEC-5741-409F-ADB7-F42848EA8ACC}" sibTransId="{BF0ACF6C-4AF8-4863-A7D8-DF5E583A6560}"/>
    <dgm:cxn modelId="{8793B159-E378-439E-9E1E-DB81566E179F}" type="presOf" srcId="{5C88C8FA-C76E-4DC1-A4F8-836446692580}" destId="{E5068B93-BC4E-4BDA-BCAE-1DA2F2E2B2A7}" srcOrd="0" destOrd="0" presId="urn:microsoft.com/office/officeart/2005/8/layout/hierarchy3"/>
    <dgm:cxn modelId="{3152AFDC-55C5-47D1-924A-E0DBA4C7EAAA}" type="presOf" srcId="{EBFF002F-17FF-4017-AAFA-7BD5D9E68A57}" destId="{B63C2432-0E26-4008-B20C-24061748BBAC}" srcOrd="0" destOrd="0" presId="urn:microsoft.com/office/officeart/2005/8/layout/hierarchy3"/>
    <dgm:cxn modelId="{BB5D434E-7786-4F83-ACAC-DCC4DBCF53CB}" srcId="{36B5D7F3-8063-43BD-8925-1AB0489327AE}" destId="{E83CDDD7-D2CE-4279-AB86-321ED26F2730}" srcOrd="1" destOrd="0" parTransId="{C84315FF-BBC7-4BC5-8B24-094B5B472F82}" sibTransId="{59C87165-8A61-46BC-9FC4-59ECECDDD528}"/>
    <dgm:cxn modelId="{23896860-92B7-435D-BB9F-17C55BD1B381}" srcId="{AFDB6EBD-F8B6-480F-B2AE-4903A5A011FB}" destId="{D5CF8696-B8D0-44DD-8B93-E23D05A40AF5}" srcOrd="0" destOrd="0" parTransId="{CEF752D3-4BFD-4FFC-B292-7E93EEA90160}" sibTransId="{01386EFA-D92E-4216-A93B-3398ADC885A9}"/>
    <dgm:cxn modelId="{7B58A67A-FF2C-44F8-8634-B05C0FA92C12}" srcId="{03783450-EED4-49D9-98B0-4E0B01D3E56B}" destId="{5EECD23F-0627-4994-B758-ECEF27F5AF85}" srcOrd="0" destOrd="0" parTransId="{D0716846-C186-47DE-AB97-9F58BD372E9A}" sibTransId="{7AA0211F-F802-4F88-B6B8-DF6638BBB08C}"/>
    <dgm:cxn modelId="{DB11E79E-9194-4A00-9E28-10F94A0725BD}" type="presOf" srcId="{D0D9602A-251F-4BDB-8074-835663B038CE}" destId="{520A828A-7CC7-47A7-B334-71EF9E65327A}" srcOrd="0" destOrd="0" presId="urn:microsoft.com/office/officeart/2005/8/layout/hierarchy3"/>
    <dgm:cxn modelId="{577A40CE-A058-453A-B240-460565CAC98D}" type="presOf" srcId="{E83CDDD7-D2CE-4279-AB86-321ED26F2730}" destId="{9D2A261F-B039-4C1E-937F-D2660B3090B1}" srcOrd="0" destOrd="0" presId="urn:microsoft.com/office/officeart/2005/8/layout/hierarchy3"/>
    <dgm:cxn modelId="{A09FA220-9FD9-4BEF-8A15-2E2BD58B5685}" srcId="{AFDB6EBD-F8B6-480F-B2AE-4903A5A011FB}" destId="{327D4628-8160-4834-9C6C-27CBB76BEB7D}" srcOrd="2" destOrd="0" parTransId="{F4AD373F-AB39-4325-8278-C6FD168C63FF}" sibTransId="{702BDB48-9926-4911-95EB-4990FF06DFE6}"/>
    <dgm:cxn modelId="{B3836BD5-CD70-4E32-AA6C-4F14576F4660}" srcId="{AFDB6EBD-F8B6-480F-B2AE-4903A5A011FB}" destId="{03783450-EED4-49D9-98B0-4E0B01D3E56B}" srcOrd="1" destOrd="0" parTransId="{38DA77E6-1528-4DBF-B584-7FFD07C4609D}" sibTransId="{C87B99ED-8DCA-413F-8B63-13398617501B}"/>
    <dgm:cxn modelId="{93C74090-1212-4CE8-96C9-C4AD6A7F0B2C}" type="presOf" srcId="{327D4628-8160-4834-9C6C-27CBB76BEB7D}" destId="{72307DDA-19B4-4C23-AC4B-DB326241BF3E}" srcOrd="0" destOrd="0" presId="urn:microsoft.com/office/officeart/2005/8/layout/hierarchy3"/>
    <dgm:cxn modelId="{1E728D28-9883-44E2-8233-5D58A5130A79}" type="presOf" srcId="{5355A860-E8BC-4F48-ACE0-957B2385F581}" destId="{6D4D5F45-2C31-47A1-9DDB-1F281B080533}" srcOrd="0" destOrd="0" presId="urn:microsoft.com/office/officeart/2005/8/layout/hierarchy3"/>
    <dgm:cxn modelId="{79D56D63-77EF-4497-8AAA-88106359C70C}" type="presOf" srcId="{6F68A87C-BE6A-414A-A2A9-E912D6D70C26}" destId="{81D05C1D-8316-472D-B84D-5B43BB52DC00}" srcOrd="0" destOrd="0" presId="urn:microsoft.com/office/officeart/2005/8/layout/hierarchy3"/>
    <dgm:cxn modelId="{EFABC9B2-CA41-4796-BDA7-B3F701F1ED62}" type="presOf" srcId="{D5F43353-6B80-4939-88A8-B1B33B38B7FD}" destId="{FFBF54A1-40A8-4608-90A2-8F85A117B2CF}" srcOrd="0" destOrd="0" presId="urn:microsoft.com/office/officeart/2005/8/layout/hierarchy3"/>
    <dgm:cxn modelId="{58C6A160-C2B0-49F3-B223-8CD8B82C241E}" srcId="{AFDB6EBD-F8B6-480F-B2AE-4903A5A011FB}" destId="{0687763E-A8E9-4CA1-A48E-5CC994E91746}" srcOrd="4" destOrd="0" parTransId="{C15E6930-0A64-4B1F-9267-68C271126382}" sibTransId="{FEDF5452-B180-43FB-9603-58572FA40087}"/>
    <dgm:cxn modelId="{F8FA6FB7-B0F9-4B5B-BE7E-005613177394}" type="presOf" srcId="{BFCDBF96-F0FD-430A-85B5-43ADF2E1BACB}" destId="{DDE79819-FEB8-4BF0-AC3B-7E0D68BF17B8}" srcOrd="0" destOrd="0" presId="urn:microsoft.com/office/officeart/2005/8/layout/hierarchy3"/>
    <dgm:cxn modelId="{9C8CBAE1-15DF-411E-9E4F-D912ED4B4343}" type="presOf" srcId="{2BD8BA2A-7431-4E27-ACDE-E7323F316BC6}" destId="{D05A7BC1-8E15-477D-B6F1-1760A7694355}" srcOrd="0" destOrd="0" presId="urn:microsoft.com/office/officeart/2005/8/layout/hierarchy3"/>
    <dgm:cxn modelId="{070D3038-78AD-4856-B920-7BEA425432AC}" srcId="{327D4628-8160-4834-9C6C-27CBB76BEB7D}" destId="{769D8CEA-C30A-4476-A4D0-4D621A66FA32}" srcOrd="2" destOrd="0" parTransId="{EBFF002F-17FF-4017-AAFA-7BD5D9E68A57}" sibTransId="{B36A46D9-703F-4669-A93D-621D629FF489}"/>
    <dgm:cxn modelId="{DBD09443-603E-4B52-9ABF-9990870915FE}" type="presOf" srcId="{5EECD23F-0627-4994-B758-ECEF27F5AF85}" destId="{240A9F26-041C-43E4-9E2A-0AEEA67CEBCC}" srcOrd="0" destOrd="0" presId="urn:microsoft.com/office/officeart/2005/8/layout/hierarchy3"/>
    <dgm:cxn modelId="{4782EDD7-E550-491F-891C-19DB9FD620B2}" type="presOf" srcId="{0687763E-A8E9-4CA1-A48E-5CC994E91746}" destId="{C0CB4FB3-41D2-43C1-94A6-8D4E80F007C9}" srcOrd="0" destOrd="0" presId="urn:microsoft.com/office/officeart/2005/8/layout/hierarchy3"/>
    <dgm:cxn modelId="{43900220-A1FF-4BDC-8762-6E09D106848F}" srcId="{D5CF8696-B8D0-44DD-8B93-E23D05A40AF5}" destId="{C653CB5A-8F9C-40E0-8101-AA58BD9BAF17}" srcOrd="0" destOrd="0" parTransId="{5EB7F00B-20CE-41EA-AF7A-53AE770B2F89}" sibTransId="{2E8F6511-9567-48C0-8726-3F538D145C17}"/>
    <dgm:cxn modelId="{3410942A-B848-4420-8EA4-434425962707}" srcId="{D5CF8696-B8D0-44DD-8B93-E23D05A40AF5}" destId="{4AD4BF52-DF04-4FAF-AEC5-2D87058495A0}" srcOrd="2" destOrd="0" parTransId="{B4A579E2-582C-4E0D-A57C-7901899F59CB}" sibTransId="{E6027250-1EA2-4322-AD95-97D2C66117D9}"/>
    <dgm:cxn modelId="{44BD666F-5747-4BCD-B707-67502CBDD887}" type="presOf" srcId="{9F6B9967-0130-42CE-9103-2A7E31F47C1A}" destId="{11D60484-DE0D-49CD-9399-C4AE8EF8509E}" srcOrd="0" destOrd="0" presId="urn:microsoft.com/office/officeart/2005/8/layout/hierarchy3"/>
    <dgm:cxn modelId="{66A5E971-9687-4658-9E86-207CF779048C}" srcId="{36B5D7F3-8063-43BD-8925-1AB0489327AE}" destId="{858B8B1B-F64C-41C6-A7CB-0F69EA117047}" srcOrd="0" destOrd="0" parTransId="{D0D9602A-251F-4BDB-8074-835663B038CE}" sibTransId="{BE5C725C-6A8F-4A12-902C-C9115C54224A}"/>
    <dgm:cxn modelId="{32F6D3C4-C62D-4862-A383-8A2650850FE2}" type="presOf" srcId="{03783450-EED4-49D9-98B0-4E0B01D3E56B}" destId="{1960E4A1-A34E-42B1-9B73-775A75D3C22F}" srcOrd="1" destOrd="0" presId="urn:microsoft.com/office/officeart/2005/8/layout/hierarchy3"/>
    <dgm:cxn modelId="{D558E5B4-C756-457A-859F-ECF04D597C61}" srcId="{AFDB6EBD-F8B6-480F-B2AE-4903A5A011FB}" destId="{36B5D7F3-8063-43BD-8925-1AB0489327AE}" srcOrd="3" destOrd="0" parTransId="{536B17EB-B8A1-4B3B-BE05-E6C5C5859ADF}" sibTransId="{4DC864E2-527D-4D27-8BD0-9EEFB2CA1661}"/>
    <dgm:cxn modelId="{1D3D485F-5DDC-499B-9954-F3405F165353}" type="presOf" srcId="{A9EC0C29-DEF5-4334-9478-0208FE4DD40B}" destId="{5265FA27-A534-45E1-A776-56D0E5F6FF57}" srcOrd="0" destOrd="0" presId="urn:microsoft.com/office/officeart/2005/8/layout/hierarchy3"/>
    <dgm:cxn modelId="{8F6E78A1-29A6-4873-81DB-172C93D827CE}" type="presOf" srcId="{B4A579E2-582C-4E0D-A57C-7901899F59CB}" destId="{E9883081-54D6-4C4E-ABC0-27F702F59016}" srcOrd="0" destOrd="0" presId="urn:microsoft.com/office/officeart/2005/8/layout/hierarchy3"/>
    <dgm:cxn modelId="{54D792FC-F43F-4FA2-861A-C00BC880F4D1}" type="presOf" srcId="{68C16FB2-8EB1-468F-9AB8-BD54B328A78D}" destId="{A41F9BD2-1F96-46FB-9B13-4C9A8F76CDD8}" srcOrd="0" destOrd="0" presId="urn:microsoft.com/office/officeart/2005/8/layout/hierarchy3"/>
    <dgm:cxn modelId="{19D9E762-5D9D-45BD-80DF-47B4FE9DB44A}" type="presOf" srcId="{704E9AEC-5741-409F-ADB7-F42848EA8ACC}" destId="{3011458B-77CE-46D2-A779-B534E650BEF9}" srcOrd="0" destOrd="0" presId="urn:microsoft.com/office/officeart/2005/8/layout/hierarchy3"/>
    <dgm:cxn modelId="{DE7FD11F-BC90-4035-BA14-07703865FABD}" type="presOf" srcId="{D5CF8696-B8D0-44DD-8B93-E23D05A40AF5}" destId="{CE9DE97A-4076-454A-B349-BAF716926771}" srcOrd="0" destOrd="0" presId="urn:microsoft.com/office/officeart/2005/8/layout/hierarchy3"/>
    <dgm:cxn modelId="{CA2A7A46-CB29-4E4A-81BD-4BFE79094C92}" type="presParOf" srcId="{B93C244A-23A8-41E6-85D8-635D353D42A3}" destId="{0664D90D-6BEA-4340-8CCC-CAD2535BE79E}" srcOrd="0" destOrd="0" presId="urn:microsoft.com/office/officeart/2005/8/layout/hierarchy3"/>
    <dgm:cxn modelId="{B75DAFF4-FE9D-4B39-A99B-B9B3FA6B2FA1}" type="presParOf" srcId="{0664D90D-6BEA-4340-8CCC-CAD2535BE79E}" destId="{BEC1D95A-625F-4097-8CA5-7FA1B498D771}" srcOrd="0" destOrd="0" presId="urn:microsoft.com/office/officeart/2005/8/layout/hierarchy3"/>
    <dgm:cxn modelId="{6ECA6EA7-D931-428E-8C91-7EBE868206C8}" type="presParOf" srcId="{BEC1D95A-625F-4097-8CA5-7FA1B498D771}" destId="{CE9DE97A-4076-454A-B349-BAF716926771}" srcOrd="0" destOrd="0" presId="urn:microsoft.com/office/officeart/2005/8/layout/hierarchy3"/>
    <dgm:cxn modelId="{0C7E3E29-490E-43C4-81E8-93CCAC5F8319}" type="presParOf" srcId="{BEC1D95A-625F-4097-8CA5-7FA1B498D771}" destId="{9D1478C3-45AA-4D6D-8273-C3A62A96A928}" srcOrd="1" destOrd="0" presId="urn:microsoft.com/office/officeart/2005/8/layout/hierarchy3"/>
    <dgm:cxn modelId="{6692E477-0C37-4F91-8C5D-260FC4F46058}" type="presParOf" srcId="{0664D90D-6BEA-4340-8CCC-CAD2535BE79E}" destId="{C5CA00D1-4C3F-4F73-A688-4C0955544F54}" srcOrd="1" destOrd="0" presId="urn:microsoft.com/office/officeart/2005/8/layout/hierarchy3"/>
    <dgm:cxn modelId="{FCA800C5-8339-4A04-A7E0-AF0A36C97B4F}" type="presParOf" srcId="{C5CA00D1-4C3F-4F73-A688-4C0955544F54}" destId="{C15319B2-D3F1-4163-AD5B-3EDCDBA7268D}" srcOrd="0" destOrd="0" presId="urn:microsoft.com/office/officeart/2005/8/layout/hierarchy3"/>
    <dgm:cxn modelId="{1A036989-A04A-46A7-AA9E-297AB01ADC71}" type="presParOf" srcId="{C5CA00D1-4C3F-4F73-A688-4C0955544F54}" destId="{A273C08E-0461-4063-85F7-17CBFE7F93D8}" srcOrd="1" destOrd="0" presId="urn:microsoft.com/office/officeart/2005/8/layout/hierarchy3"/>
    <dgm:cxn modelId="{9074C65A-91D4-46F6-8451-4F6429F67D2B}" type="presParOf" srcId="{C5CA00D1-4C3F-4F73-A688-4C0955544F54}" destId="{81D05C1D-8316-472D-B84D-5B43BB52DC00}" srcOrd="2" destOrd="0" presId="urn:microsoft.com/office/officeart/2005/8/layout/hierarchy3"/>
    <dgm:cxn modelId="{2894D77D-ED47-4820-A371-7C8B2AC3301E}" type="presParOf" srcId="{C5CA00D1-4C3F-4F73-A688-4C0955544F54}" destId="{11D60484-DE0D-49CD-9399-C4AE8EF8509E}" srcOrd="3" destOrd="0" presId="urn:microsoft.com/office/officeart/2005/8/layout/hierarchy3"/>
    <dgm:cxn modelId="{D44A6704-D4C9-43F1-9D04-A318A073C2D5}" type="presParOf" srcId="{C5CA00D1-4C3F-4F73-A688-4C0955544F54}" destId="{E9883081-54D6-4C4E-ABC0-27F702F59016}" srcOrd="4" destOrd="0" presId="urn:microsoft.com/office/officeart/2005/8/layout/hierarchy3"/>
    <dgm:cxn modelId="{1024F17C-28FF-4C3D-9308-9BC543CCA8B1}" type="presParOf" srcId="{C5CA00D1-4C3F-4F73-A688-4C0955544F54}" destId="{AADDC0D9-43CF-48DB-88E3-123D829A30A0}" srcOrd="5" destOrd="0" presId="urn:microsoft.com/office/officeart/2005/8/layout/hierarchy3"/>
    <dgm:cxn modelId="{7E41AB0C-3382-475D-B339-A985DC4452E6}" type="presParOf" srcId="{B93C244A-23A8-41E6-85D8-635D353D42A3}" destId="{DA0BC0DB-D9F9-40BF-9440-E0107009A152}" srcOrd="1" destOrd="0" presId="urn:microsoft.com/office/officeart/2005/8/layout/hierarchy3"/>
    <dgm:cxn modelId="{B4C95FEB-6342-419D-94B3-9EFAB1EE39C9}" type="presParOf" srcId="{DA0BC0DB-D9F9-40BF-9440-E0107009A152}" destId="{86D4F25A-318D-42CF-888C-76B911C4356B}" srcOrd="0" destOrd="0" presId="urn:microsoft.com/office/officeart/2005/8/layout/hierarchy3"/>
    <dgm:cxn modelId="{E15A57B1-5013-4108-8BCF-4367BEE66BA8}" type="presParOf" srcId="{86D4F25A-318D-42CF-888C-76B911C4356B}" destId="{9BD4DA0F-AE50-42E9-A05F-A29D70E5E02A}" srcOrd="0" destOrd="0" presId="urn:microsoft.com/office/officeart/2005/8/layout/hierarchy3"/>
    <dgm:cxn modelId="{07C09B44-971B-4F77-AFC0-C80C332328B0}" type="presParOf" srcId="{86D4F25A-318D-42CF-888C-76B911C4356B}" destId="{1960E4A1-A34E-42B1-9B73-775A75D3C22F}" srcOrd="1" destOrd="0" presId="urn:microsoft.com/office/officeart/2005/8/layout/hierarchy3"/>
    <dgm:cxn modelId="{22BBDFC9-34EC-4189-9A2B-2248B2DB4B58}" type="presParOf" srcId="{DA0BC0DB-D9F9-40BF-9440-E0107009A152}" destId="{5C8064F3-3C9D-47DE-98D3-3B5601A4445B}" srcOrd="1" destOrd="0" presId="urn:microsoft.com/office/officeart/2005/8/layout/hierarchy3"/>
    <dgm:cxn modelId="{2A382319-247F-4588-8646-2488144C9DDB}" type="presParOf" srcId="{5C8064F3-3C9D-47DE-98D3-3B5601A4445B}" destId="{A1758D23-3EBE-4C86-A2F4-8858670585C9}" srcOrd="0" destOrd="0" presId="urn:microsoft.com/office/officeart/2005/8/layout/hierarchy3"/>
    <dgm:cxn modelId="{F7C67186-706A-4786-8F5F-77204BF99D28}" type="presParOf" srcId="{5C8064F3-3C9D-47DE-98D3-3B5601A4445B}" destId="{240A9F26-041C-43E4-9E2A-0AEEA67CEBCC}" srcOrd="1" destOrd="0" presId="urn:microsoft.com/office/officeart/2005/8/layout/hierarchy3"/>
    <dgm:cxn modelId="{F9AD5D1D-D813-4E78-83E9-181F0F8FACBC}" type="presParOf" srcId="{5C8064F3-3C9D-47DE-98D3-3B5601A4445B}" destId="{5265FA27-A534-45E1-A776-56D0E5F6FF57}" srcOrd="2" destOrd="0" presId="urn:microsoft.com/office/officeart/2005/8/layout/hierarchy3"/>
    <dgm:cxn modelId="{116169E9-B730-451B-8E0C-A1C31E460423}" type="presParOf" srcId="{5C8064F3-3C9D-47DE-98D3-3B5601A4445B}" destId="{D05A7BC1-8E15-477D-B6F1-1760A7694355}" srcOrd="3" destOrd="0" presId="urn:microsoft.com/office/officeart/2005/8/layout/hierarchy3"/>
    <dgm:cxn modelId="{338B0CEF-9C31-4E1E-9B61-EABA554BECA7}" type="presParOf" srcId="{5C8064F3-3C9D-47DE-98D3-3B5601A4445B}" destId="{FFBF54A1-40A8-4608-90A2-8F85A117B2CF}" srcOrd="4" destOrd="0" presId="urn:microsoft.com/office/officeart/2005/8/layout/hierarchy3"/>
    <dgm:cxn modelId="{2D742EC8-6744-41A3-8E7D-A8D464D21E6C}" type="presParOf" srcId="{5C8064F3-3C9D-47DE-98D3-3B5601A4445B}" destId="{941FF856-1127-42CC-A8F5-9FF18D9778E1}" srcOrd="5" destOrd="0" presId="urn:microsoft.com/office/officeart/2005/8/layout/hierarchy3"/>
    <dgm:cxn modelId="{5F6D8237-9EE8-49C6-8FC4-C3DE35ED0390}" type="presParOf" srcId="{B93C244A-23A8-41E6-85D8-635D353D42A3}" destId="{12A170A1-B9F1-49D1-AA25-8B936D5B35CA}" srcOrd="2" destOrd="0" presId="urn:microsoft.com/office/officeart/2005/8/layout/hierarchy3"/>
    <dgm:cxn modelId="{8C5F639B-340A-4F04-9FE5-3ED63B616DAE}" type="presParOf" srcId="{12A170A1-B9F1-49D1-AA25-8B936D5B35CA}" destId="{7DA725A6-AF28-46F7-946D-766EAC6596B0}" srcOrd="0" destOrd="0" presId="urn:microsoft.com/office/officeart/2005/8/layout/hierarchy3"/>
    <dgm:cxn modelId="{485BA706-AE00-463D-A471-5BDF1ED73BFB}" type="presParOf" srcId="{7DA725A6-AF28-46F7-946D-766EAC6596B0}" destId="{72307DDA-19B4-4C23-AC4B-DB326241BF3E}" srcOrd="0" destOrd="0" presId="urn:microsoft.com/office/officeart/2005/8/layout/hierarchy3"/>
    <dgm:cxn modelId="{96D7C2DF-9586-4CE1-8362-24838F838198}" type="presParOf" srcId="{7DA725A6-AF28-46F7-946D-766EAC6596B0}" destId="{89B1BF5D-0EA9-4420-BE1B-96C284C116A1}" srcOrd="1" destOrd="0" presId="urn:microsoft.com/office/officeart/2005/8/layout/hierarchy3"/>
    <dgm:cxn modelId="{8632021B-C1C0-4554-8AE8-719ED5713DB9}" type="presParOf" srcId="{12A170A1-B9F1-49D1-AA25-8B936D5B35CA}" destId="{46BEADB9-99B7-467B-B657-DBF989EB3773}" srcOrd="1" destOrd="0" presId="urn:microsoft.com/office/officeart/2005/8/layout/hierarchy3"/>
    <dgm:cxn modelId="{6004AD6E-CE94-4672-96B5-F0FDBA6BABB4}" type="presParOf" srcId="{46BEADB9-99B7-467B-B657-DBF989EB3773}" destId="{7CDADDB7-4941-4553-9004-FD3C568B3153}" srcOrd="0" destOrd="0" presId="urn:microsoft.com/office/officeart/2005/8/layout/hierarchy3"/>
    <dgm:cxn modelId="{B8A68A61-500E-4EA5-8764-1015C9464152}" type="presParOf" srcId="{46BEADB9-99B7-467B-B657-DBF989EB3773}" destId="{6D4D5F45-2C31-47A1-9DDB-1F281B080533}" srcOrd="1" destOrd="0" presId="urn:microsoft.com/office/officeart/2005/8/layout/hierarchy3"/>
    <dgm:cxn modelId="{6401031E-594B-425B-A19B-E5AE3FC3EFD6}" type="presParOf" srcId="{46BEADB9-99B7-467B-B657-DBF989EB3773}" destId="{E5068B93-BC4E-4BDA-BCAE-1DA2F2E2B2A7}" srcOrd="2" destOrd="0" presId="urn:microsoft.com/office/officeart/2005/8/layout/hierarchy3"/>
    <dgm:cxn modelId="{C22FFB9A-7D46-4A5B-803E-BF1348912055}" type="presParOf" srcId="{46BEADB9-99B7-467B-B657-DBF989EB3773}" destId="{DDE79819-FEB8-4BF0-AC3B-7E0D68BF17B8}" srcOrd="3" destOrd="0" presId="urn:microsoft.com/office/officeart/2005/8/layout/hierarchy3"/>
    <dgm:cxn modelId="{37BB2B32-4445-4628-9933-C0A72E5D7259}" type="presParOf" srcId="{46BEADB9-99B7-467B-B657-DBF989EB3773}" destId="{B63C2432-0E26-4008-B20C-24061748BBAC}" srcOrd="4" destOrd="0" presId="urn:microsoft.com/office/officeart/2005/8/layout/hierarchy3"/>
    <dgm:cxn modelId="{1FB16A2C-BE05-4B85-9DC2-8151296A5723}" type="presParOf" srcId="{46BEADB9-99B7-467B-B657-DBF989EB3773}" destId="{C41C5431-2CF2-4587-A10A-07A77F68AD50}" srcOrd="5" destOrd="0" presId="urn:microsoft.com/office/officeart/2005/8/layout/hierarchy3"/>
    <dgm:cxn modelId="{A74F1F6A-CB84-40FE-9D9B-2520CF5F7DBA}" type="presParOf" srcId="{B93C244A-23A8-41E6-85D8-635D353D42A3}" destId="{DC9CAAB4-CF32-4B00-8628-C63C750D36EE}" srcOrd="3" destOrd="0" presId="urn:microsoft.com/office/officeart/2005/8/layout/hierarchy3"/>
    <dgm:cxn modelId="{8A4CD1E5-53A8-45B1-8D7B-FD5053FDE6FC}" type="presParOf" srcId="{DC9CAAB4-CF32-4B00-8628-C63C750D36EE}" destId="{E94BC526-5346-4250-803B-FEA3F43F19CE}" srcOrd="0" destOrd="0" presId="urn:microsoft.com/office/officeart/2005/8/layout/hierarchy3"/>
    <dgm:cxn modelId="{6D41C997-EC48-451C-B7F9-2BAA966EA839}" type="presParOf" srcId="{E94BC526-5346-4250-803B-FEA3F43F19CE}" destId="{9A8FFFA5-D6ED-4325-AF4B-D0D60F5FD893}" srcOrd="0" destOrd="0" presId="urn:microsoft.com/office/officeart/2005/8/layout/hierarchy3"/>
    <dgm:cxn modelId="{B4F8F026-B9C9-4122-BFD3-360E6DFA7DE2}" type="presParOf" srcId="{E94BC526-5346-4250-803B-FEA3F43F19CE}" destId="{11EF8662-8368-43C5-847C-A7A2977A8DE7}" srcOrd="1" destOrd="0" presId="urn:microsoft.com/office/officeart/2005/8/layout/hierarchy3"/>
    <dgm:cxn modelId="{C8A03A3D-F95E-4F50-A003-E6D14A25FD42}" type="presParOf" srcId="{DC9CAAB4-CF32-4B00-8628-C63C750D36EE}" destId="{2D33DB55-EC17-452A-B499-A8B9AA7BD5D8}" srcOrd="1" destOrd="0" presId="urn:microsoft.com/office/officeart/2005/8/layout/hierarchy3"/>
    <dgm:cxn modelId="{8C7C9227-4D80-4C4B-A97B-B7D85E6C9AEA}" type="presParOf" srcId="{2D33DB55-EC17-452A-B499-A8B9AA7BD5D8}" destId="{520A828A-7CC7-47A7-B334-71EF9E65327A}" srcOrd="0" destOrd="0" presId="urn:microsoft.com/office/officeart/2005/8/layout/hierarchy3"/>
    <dgm:cxn modelId="{27426FD4-6380-4B53-993B-ABB4A2331B9E}" type="presParOf" srcId="{2D33DB55-EC17-452A-B499-A8B9AA7BD5D8}" destId="{E69C9FAA-11B5-4795-BEE9-21669FAB48E3}" srcOrd="1" destOrd="0" presId="urn:microsoft.com/office/officeart/2005/8/layout/hierarchy3"/>
    <dgm:cxn modelId="{83C94FDC-D549-4AF9-AD4C-F5E9247CCAEC}" type="presParOf" srcId="{2D33DB55-EC17-452A-B499-A8B9AA7BD5D8}" destId="{B89C4EBA-BE15-4A2E-A5A2-1FBADE05A726}" srcOrd="2" destOrd="0" presId="urn:microsoft.com/office/officeart/2005/8/layout/hierarchy3"/>
    <dgm:cxn modelId="{5A3E0AD9-FD07-43AC-BCD3-A867C681B3E6}" type="presParOf" srcId="{2D33DB55-EC17-452A-B499-A8B9AA7BD5D8}" destId="{9D2A261F-B039-4C1E-937F-D2660B3090B1}" srcOrd="3" destOrd="0" presId="urn:microsoft.com/office/officeart/2005/8/layout/hierarchy3"/>
    <dgm:cxn modelId="{DEF706A8-6A41-43C0-B189-011494E65275}" type="presParOf" srcId="{2D33DB55-EC17-452A-B499-A8B9AA7BD5D8}" destId="{A41F9BD2-1F96-46FB-9B13-4C9A8F76CDD8}" srcOrd="4" destOrd="0" presId="urn:microsoft.com/office/officeart/2005/8/layout/hierarchy3"/>
    <dgm:cxn modelId="{0299C98B-04FA-459A-893E-DA8AB9301287}" type="presParOf" srcId="{2D33DB55-EC17-452A-B499-A8B9AA7BD5D8}" destId="{6F37918B-B083-462C-AEA3-F85694A2C38D}" srcOrd="5" destOrd="0" presId="urn:microsoft.com/office/officeart/2005/8/layout/hierarchy3"/>
    <dgm:cxn modelId="{EA75F50D-793B-4EE5-B5EA-329D1F1401A7}" type="presParOf" srcId="{B93C244A-23A8-41E6-85D8-635D353D42A3}" destId="{DC97B35F-9BDA-4E14-9246-FC2C7C0A97BB}" srcOrd="4" destOrd="0" presId="urn:microsoft.com/office/officeart/2005/8/layout/hierarchy3"/>
    <dgm:cxn modelId="{D15F9E1D-BE83-4A34-A423-CBD0C88E7943}" type="presParOf" srcId="{DC97B35F-9BDA-4E14-9246-FC2C7C0A97BB}" destId="{3F9BBAB9-CCA3-405F-B5DF-A0C0C187F972}" srcOrd="0" destOrd="0" presId="urn:microsoft.com/office/officeart/2005/8/layout/hierarchy3"/>
    <dgm:cxn modelId="{1BC5AE2C-62CE-4E4A-A740-40DE46079C07}" type="presParOf" srcId="{3F9BBAB9-CCA3-405F-B5DF-A0C0C187F972}" destId="{C0CB4FB3-41D2-43C1-94A6-8D4E80F007C9}" srcOrd="0" destOrd="0" presId="urn:microsoft.com/office/officeart/2005/8/layout/hierarchy3"/>
    <dgm:cxn modelId="{AF091AA7-D9A2-43A8-A8E5-AC623F306EB3}" type="presParOf" srcId="{3F9BBAB9-CCA3-405F-B5DF-A0C0C187F972}" destId="{38A73C54-B4BE-4DD7-97FB-A16D8C4D38FC}" srcOrd="1" destOrd="0" presId="urn:microsoft.com/office/officeart/2005/8/layout/hierarchy3"/>
    <dgm:cxn modelId="{3C959C6D-7873-4860-AA82-3562BA06B2F9}" type="presParOf" srcId="{DC97B35F-9BDA-4E14-9246-FC2C7C0A97BB}" destId="{D6FE2B73-B758-4469-87FE-2D241E4A861A}" srcOrd="1" destOrd="0" presId="urn:microsoft.com/office/officeart/2005/8/layout/hierarchy3"/>
    <dgm:cxn modelId="{95BD451A-7212-40D1-8B5B-3604B3019A87}" type="presParOf" srcId="{D6FE2B73-B758-4469-87FE-2D241E4A861A}" destId="{3011458B-77CE-46D2-A779-B534E650BEF9}" srcOrd="0" destOrd="0" presId="urn:microsoft.com/office/officeart/2005/8/layout/hierarchy3"/>
    <dgm:cxn modelId="{31CAE30A-D6C8-4431-9FF4-502E5FA6D113}" type="presParOf" srcId="{D6FE2B73-B758-4469-87FE-2D241E4A861A}" destId="{276B28E8-8A19-4BBF-BA24-3765681958AE}" srcOrd="1" destOrd="0" presId="urn:microsoft.com/office/officeart/2005/8/layout/hierarchy3"/>
    <dgm:cxn modelId="{352FC765-F1E6-430F-A1A1-1313B7038FCF}" type="presParOf" srcId="{D6FE2B73-B758-4469-87FE-2D241E4A861A}" destId="{3E905EDA-3C3A-4F71-A5B3-C5892FDBCA92}" srcOrd="2" destOrd="0" presId="urn:microsoft.com/office/officeart/2005/8/layout/hierarchy3"/>
    <dgm:cxn modelId="{BEF3095D-EFFD-419A-BBF3-2ADE6E0AB2B6}" type="presParOf" srcId="{D6FE2B73-B758-4469-87FE-2D241E4A861A}" destId="{03480E42-F712-4565-A8B5-C96FA65B37B5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эффективного сохранения и восстановления лесов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pPr algn="l"/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рационального многоцелевого и </a:t>
          </a:r>
          <a:r>
            <a:rPr lang="ru-RU" sz="18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неистощительного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 использования лесов при сохранении их экологических функций и биологического разнообразия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эффективного управления лесами и устойчивого развития лесного сектора экономики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3" custLinFactNeighborY="1015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ScaleX="89372" custLinFactNeighborX="-4685" custLinFactNeighborY="13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3" custLinFactNeighborY="553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90810" custScaleY="98723" custLinFactNeighborX="-3952" custLinFactNeighborY="89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3" custScaleX="80064" custScaleY="101631" custLinFactNeighborX="-9496" custLinFactNeighborY="-22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C36C503-6313-4B9C-8920-34D92D3D7619}" type="presOf" srcId="{1058169D-D01B-4E78-A167-B894F26DBF1F}" destId="{5ECE7EA3-A7E3-4E0C-B975-41F9C359BA6D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96136537-7265-4EBA-917F-F045335A9E5A}" type="presOf" srcId="{3C7A2CFB-CD03-4E12-88F2-8CA3BB8DE437}" destId="{EAE1A14D-E2BD-42E6-894E-5B7C5940284F}" srcOrd="0" destOrd="0" presId="urn:microsoft.com/office/officeart/2005/8/layout/chevron2"/>
    <dgm:cxn modelId="{5F3A1549-8829-45E3-B29A-AE67151C922A}" type="presOf" srcId="{A41EC202-0235-4971-8214-9C9E0056245F}" destId="{7215DEBD-BA07-40B8-9084-51F9C12F89A0}" srcOrd="0" destOrd="0" presId="urn:microsoft.com/office/officeart/2005/8/layout/chevron2"/>
    <dgm:cxn modelId="{F8B94CD6-7C19-4E3A-A95D-BE9133EA2DDB}" type="presOf" srcId="{9A48CEB5-4D6A-4D74-B750-853B836C2855}" destId="{66D94BEC-4599-4ED7-9FC7-DAEAE4367748}" srcOrd="0" destOrd="0" presId="urn:microsoft.com/office/officeart/2005/8/layout/chevron2"/>
    <dgm:cxn modelId="{7D7D6ADE-CA22-46CA-A202-6F7691CE7C87}" type="presOf" srcId="{72F5F253-0FCF-4EBD-9B0F-341A5B3559E5}" destId="{2EBACB9A-1682-415B-97FD-B76DBC3B4EE1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A5BFE43A-F9E3-43EC-8295-0AC7D1533F89}" type="presOf" srcId="{DBB94CE4-DB1D-4384-B5A5-8A8B65F2D703}" destId="{A7EDEBFF-6510-4F63-9A07-4BC55A52FD68}" srcOrd="0" destOrd="0" presId="urn:microsoft.com/office/officeart/2005/8/layout/chevron2"/>
    <dgm:cxn modelId="{9C75EB52-28C0-4679-A090-D90F5631D494}" type="presOf" srcId="{DBF741A3-E6A7-4631-A550-ECEAC5E91EEC}" destId="{DBFDEF8E-11A9-45BD-BD7E-4BCEC19E877E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3B5F081A-A348-46D3-A0E2-5F81474980C4}" type="presParOf" srcId="{2EBACB9A-1682-415B-97FD-B76DBC3B4EE1}" destId="{889DC4C8-A67D-4E9E-BB56-527B835DC9F7}" srcOrd="0" destOrd="0" presId="urn:microsoft.com/office/officeart/2005/8/layout/chevron2"/>
    <dgm:cxn modelId="{E7ECB4F7-BE2C-403E-BFB3-55EC9EA7B048}" type="presParOf" srcId="{889DC4C8-A67D-4E9E-BB56-527B835DC9F7}" destId="{66D94BEC-4599-4ED7-9FC7-DAEAE4367748}" srcOrd="0" destOrd="0" presId="urn:microsoft.com/office/officeart/2005/8/layout/chevron2"/>
    <dgm:cxn modelId="{A331CB82-6A40-4868-B608-447BACF72027}" type="presParOf" srcId="{889DC4C8-A67D-4E9E-BB56-527B835DC9F7}" destId="{5ECE7EA3-A7E3-4E0C-B975-41F9C359BA6D}" srcOrd="1" destOrd="0" presId="urn:microsoft.com/office/officeart/2005/8/layout/chevron2"/>
    <dgm:cxn modelId="{EAA69A1A-3CF5-4B91-85B4-1D16B05B7193}" type="presParOf" srcId="{2EBACB9A-1682-415B-97FD-B76DBC3B4EE1}" destId="{C34CB2AB-3B8E-4C06-8F26-5EBC05285B68}" srcOrd="1" destOrd="0" presId="urn:microsoft.com/office/officeart/2005/8/layout/chevron2"/>
    <dgm:cxn modelId="{C99A807A-F12A-4A5D-A314-4CC447F36938}" type="presParOf" srcId="{2EBACB9A-1682-415B-97FD-B76DBC3B4EE1}" destId="{DEC8D6F7-2F1C-450B-91DC-CC99C65EE88F}" srcOrd="2" destOrd="0" presId="urn:microsoft.com/office/officeart/2005/8/layout/chevron2"/>
    <dgm:cxn modelId="{70F6D9B8-D6AF-40B9-A692-4B5289223B01}" type="presParOf" srcId="{DEC8D6F7-2F1C-450B-91DC-CC99C65EE88F}" destId="{EAE1A14D-E2BD-42E6-894E-5B7C5940284F}" srcOrd="0" destOrd="0" presId="urn:microsoft.com/office/officeart/2005/8/layout/chevron2"/>
    <dgm:cxn modelId="{71063862-2B20-4549-8F12-F734A3A0EA83}" type="presParOf" srcId="{DEC8D6F7-2F1C-450B-91DC-CC99C65EE88F}" destId="{7215DEBD-BA07-40B8-9084-51F9C12F89A0}" srcOrd="1" destOrd="0" presId="urn:microsoft.com/office/officeart/2005/8/layout/chevron2"/>
    <dgm:cxn modelId="{F44D91A1-09D7-46C0-BCDE-08D2B35AA71B}" type="presParOf" srcId="{2EBACB9A-1682-415B-97FD-B76DBC3B4EE1}" destId="{07BF5B05-83A9-4005-B66C-666107BF56A4}" srcOrd="3" destOrd="0" presId="urn:microsoft.com/office/officeart/2005/8/layout/chevron2"/>
    <dgm:cxn modelId="{DB5F6DBC-89FD-4805-A089-43DA0A6C1052}" type="presParOf" srcId="{2EBACB9A-1682-415B-97FD-B76DBC3B4EE1}" destId="{C1BEE75E-3C08-4079-B4DE-7A60B7C5B46B}" srcOrd="4" destOrd="0" presId="urn:microsoft.com/office/officeart/2005/8/layout/chevron2"/>
    <dgm:cxn modelId="{E07C9472-885D-4B98-AA58-52F24D21C9F7}" type="presParOf" srcId="{C1BEE75E-3C08-4079-B4DE-7A60B7C5B46B}" destId="{A7EDEBFF-6510-4F63-9A07-4BC55A52FD68}" srcOrd="0" destOrd="0" presId="urn:microsoft.com/office/officeart/2005/8/layout/chevron2"/>
    <dgm:cxn modelId="{49D1B49D-5EB3-4BB0-BDD3-E8852BE11C7E}" type="presParOf" srcId="{C1BEE75E-3C08-4079-B4DE-7A60B7C5B46B}" destId="{DBFDEF8E-11A9-45BD-BD7E-4BCEC19E877E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ормирование лесосечного фонда в целях обеспечения граждан древесиной для собственных нужд </a:t>
          </a:r>
          <a:endParaRPr lang="ru-RU" sz="25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государственного лесного надзора (лесная охрана)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беспечение баланса выбытия и воспроизводства лесов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D7191962-4BC0-451E-B00C-8790979A8506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воение расчетной лесосеки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8CD87D-CF8C-4EA8-A672-CE69C5626EBE}" type="parTrans" cxnId="{A85DF36E-A024-436B-969E-597E4F7CB2DE}">
      <dgm:prSet/>
      <dgm:spPr/>
      <dgm:t>
        <a:bodyPr/>
        <a:lstStyle/>
        <a:p>
          <a:endParaRPr lang="ru-RU"/>
        </a:p>
      </dgm:t>
    </dgm:pt>
    <dgm:pt modelId="{46ABC7E0-9A60-4226-AD94-F828496C0245}" type="sibTrans" cxnId="{A85DF36E-A024-436B-969E-597E4F7CB2DE}">
      <dgm:prSet/>
      <dgm:spPr/>
      <dgm:t>
        <a:bodyPr/>
        <a:lstStyle/>
        <a:p>
          <a:endParaRPr lang="ru-RU"/>
        </a:p>
      </dgm:t>
    </dgm:pt>
    <dgm:pt modelId="{C6C5ACA1-B9B5-4449-A09F-96A95AC0B62F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величение площади переданных в аренду лесов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480A1F-C889-4840-B8B5-DF50E4036EFC}" type="parTrans" cxnId="{397A9A77-0D38-4695-9C52-A7FD139619DD}">
      <dgm:prSet/>
      <dgm:spPr/>
      <dgm:t>
        <a:bodyPr/>
        <a:lstStyle/>
        <a:p>
          <a:endParaRPr lang="ru-RU"/>
        </a:p>
      </dgm:t>
    </dgm:pt>
    <dgm:pt modelId="{D83E094B-DF44-458A-A0A1-F0BBE8AF93AC}" type="sibTrans" cxnId="{397A9A77-0D38-4695-9C52-A7FD139619DD}">
      <dgm:prSet/>
      <dgm:spPr/>
      <dgm:t>
        <a:bodyPr/>
        <a:lstStyle/>
        <a:p>
          <a:endParaRPr lang="ru-RU"/>
        </a:p>
      </dgm:t>
    </dgm:pt>
    <dgm:pt modelId="{DE0BBE18-0E74-4886-ACBD-DEBAF99E5CA5}">
      <dgm:prSet custT="1"/>
      <dgm:spPr/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охраны и защиты лесов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346A59-1D32-4A83-9559-A98FB71595DF}" type="parTrans" cxnId="{6264E20C-CAAE-405E-9855-6821C636B2EA}">
      <dgm:prSet/>
      <dgm:spPr/>
      <dgm:t>
        <a:bodyPr/>
        <a:lstStyle/>
        <a:p>
          <a:endParaRPr lang="ru-RU"/>
        </a:p>
      </dgm:t>
    </dgm:pt>
    <dgm:pt modelId="{3FCEDFC3-D3AE-4124-ACD2-57FEDDDE99AC}" type="sibTrans" cxnId="{6264E20C-CAAE-405E-9855-6821C636B2EA}">
      <dgm:prSet/>
      <dgm:spPr/>
      <dgm:t>
        <a:bodyPr/>
        <a:lstStyle/>
        <a:p>
          <a:endParaRPr lang="ru-RU"/>
        </a:p>
      </dgm:t>
    </dgm:pt>
    <dgm:pt modelId="{7DDB72E4-7121-4515-B7D9-31CF0A81527D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государственного лесного надзора (лесная охрана)</a:t>
          </a:r>
          <a:endParaRPr lang="ru-RU" sz="1800" b="1" dirty="0">
            <a:solidFill>
              <a:schemeClr val="tx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FBE84D91-0151-4A5E-A1C3-F765932DC825}" type="parTrans" cxnId="{1C405E38-AD1B-4FBE-A562-21EAFF8EC0C9}">
      <dgm:prSet/>
      <dgm:spPr/>
      <dgm:t>
        <a:bodyPr/>
        <a:lstStyle/>
        <a:p>
          <a:endParaRPr lang="ru-RU"/>
        </a:p>
      </dgm:t>
    </dgm:pt>
    <dgm:pt modelId="{B7DCC2AC-308D-4B90-833F-A54828227F6D}" type="sibTrans" cxnId="{1C405E38-AD1B-4FBE-A562-21EAFF8EC0C9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DD38DDB6-44C1-4294-8860-F67C8DF5E738}" type="presOf" srcId="{E8C4C2EF-81D2-4B22-8A1D-88D0C558CD53}" destId="{302FC55C-58A2-4FF3-96AC-10CFA0052481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4AB184C5-F9BC-4F44-B50D-81316B3114B2}" type="presOf" srcId="{1ABDF41F-8084-474E-8ACB-67C32FF2A1EF}" destId="{054E0B3D-A8D3-46C8-8CC8-57479A6700D3}" srcOrd="0" destOrd="0" presId="urn:microsoft.com/office/officeart/2005/8/layout/chevron2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4B4B0089-EA92-42D0-9B19-1DC3AAF38295}" type="presOf" srcId="{7DDB72E4-7121-4515-B7D9-31CF0A81527D}" destId="{BA1055A7-1216-4086-83B6-4D1BE3CE8907}" srcOrd="0" destOrd="1" presId="urn:microsoft.com/office/officeart/2005/8/layout/chevron2"/>
    <dgm:cxn modelId="{6D2C9896-6015-483F-9B9F-6D297648EDC4}" type="presOf" srcId="{C6C5ACA1-B9B5-4449-A09F-96A95AC0B62F}" destId="{4BC5D174-82E1-455A-8266-2EF651317590}" srcOrd="0" destOrd="2" presId="urn:microsoft.com/office/officeart/2005/8/layout/chevron2"/>
    <dgm:cxn modelId="{B2EC2633-4107-447E-9DF1-DF9A3E15AC17}" type="presOf" srcId="{D411A21B-1094-4E74-9F1B-CF6C6E2B675E}" destId="{CEB1617E-7ABE-4EBF-B914-C8E149BFD968}" srcOrd="0" destOrd="0" presId="urn:microsoft.com/office/officeart/2005/8/layout/chevron2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A1946054-2D7B-4B76-ACC8-F8D60A520737}" type="presOf" srcId="{A2D40B80-A2E8-49E7-8480-DF0AD1F27530}" destId="{BA1055A7-1216-4086-83B6-4D1BE3CE8907}" srcOrd="0" destOrd="0" presId="urn:microsoft.com/office/officeart/2005/8/layout/chevron2"/>
    <dgm:cxn modelId="{75AA5AEB-221E-417A-8795-249EA5740796}" type="presOf" srcId="{D7191962-4BC0-451E-B00C-8790979A8506}" destId="{4BC5D174-82E1-455A-8266-2EF651317590}" srcOrd="0" destOrd="1" presId="urn:microsoft.com/office/officeart/2005/8/layout/chevron2"/>
    <dgm:cxn modelId="{397A9A77-0D38-4695-9C52-A7FD139619DD}" srcId="{DEA64100-CF05-47A1-B324-B7A5DDB36E93}" destId="{C6C5ACA1-B9B5-4449-A09F-96A95AC0B62F}" srcOrd="2" destOrd="0" parTransId="{FF480A1F-C889-4840-B8B5-DF50E4036EFC}" sibTransId="{D83E094B-DF44-458A-A0A1-F0BBE8AF93AC}"/>
    <dgm:cxn modelId="{4E3AA78C-2B80-4342-9129-5A8E2227E0FC}" type="presOf" srcId="{58CB288E-F9F4-4BB8-9851-2A6C7C3578F4}" destId="{4BC5D174-82E1-455A-8266-2EF651317590}" srcOrd="0" destOrd="0" presId="urn:microsoft.com/office/officeart/2005/8/layout/chevron2"/>
    <dgm:cxn modelId="{A85DF36E-A024-436B-969E-597E4F7CB2DE}" srcId="{DEA64100-CF05-47A1-B324-B7A5DDB36E93}" destId="{D7191962-4BC0-451E-B00C-8790979A8506}" srcOrd="1" destOrd="0" parTransId="{6F8CD87D-CF8C-4EA8-A672-CE69C5626EBE}" sibTransId="{46ABC7E0-9A60-4226-AD94-F828496C0245}"/>
    <dgm:cxn modelId="{1C405E38-AD1B-4FBE-A562-21EAFF8EC0C9}" srcId="{18728B41-1962-40FC-B86A-9356146B5A68}" destId="{7DDB72E4-7121-4515-B7D9-31CF0A81527D}" srcOrd="1" destOrd="0" parTransId="{FBE84D91-0151-4A5E-A1C3-F765932DC825}" sibTransId="{B7DCC2AC-308D-4B90-833F-A54828227F6D}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62FDB6D5-4378-413D-8650-18B17300A94B}" type="presOf" srcId="{18728B41-1962-40FC-B86A-9356146B5A68}" destId="{B3C1D9A3-46B4-4E40-BD14-497C0DCDB4DC}" srcOrd="0" destOrd="0" presId="urn:microsoft.com/office/officeart/2005/8/layout/chevron2"/>
    <dgm:cxn modelId="{FFF5265F-6A73-4CB5-B804-8EB028DAAFB4}" type="presOf" srcId="{DEA64100-CF05-47A1-B324-B7A5DDB36E93}" destId="{29C5F787-6539-40B8-B7D2-7E50296FD528}" srcOrd="0" destOrd="0" presId="urn:microsoft.com/office/officeart/2005/8/layout/chevron2"/>
    <dgm:cxn modelId="{6264E20C-CAAE-405E-9855-6821C636B2EA}" srcId="{E8C4C2EF-81D2-4B22-8A1D-88D0C558CD53}" destId="{DE0BBE18-0E74-4886-ACBD-DEBAF99E5CA5}" srcOrd="1" destOrd="0" parTransId="{1A346A59-1D32-4A83-9559-A98FB71595DF}" sibTransId="{3FCEDFC3-D3AE-4124-ACD2-57FEDDDE99AC}"/>
    <dgm:cxn modelId="{FD502A16-D3F6-4CB3-AED3-F623A3288E75}" type="presOf" srcId="{DE0BBE18-0E74-4886-ACBD-DEBAF99E5CA5}" destId="{054E0B3D-A8D3-46C8-8CC8-57479A6700D3}" srcOrd="0" destOrd="1" presId="urn:microsoft.com/office/officeart/2005/8/layout/chevron2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25E23D32-ED4C-43F5-BF61-15A48186D15D}" type="presParOf" srcId="{CEB1617E-7ABE-4EBF-B914-C8E149BFD968}" destId="{85B13D13-17B0-48B9-8B0B-E25A451A0D88}" srcOrd="0" destOrd="0" presId="urn:microsoft.com/office/officeart/2005/8/layout/chevron2"/>
    <dgm:cxn modelId="{31E869C9-7A6C-4D51-B24B-B91058442446}" type="presParOf" srcId="{85B13D13-17B0-48B9-8B0B-E25A451A0D88}" destId="{29C5F787-6539-40B8-B7D2-7E50296FD528}" srcOrd="0" destOrd="0" presId="urn:microsoft.com/office/officeart/2005/8/layout/chevron2"/>
    <dgm:cxn modelId="{F4200903-4E8F-4757-8E7C-C2A9A546DC1A}" type="presParOf" srcId="{85B13D13-17B0-48B9-8B0B-E25A451A0D88}" destId="{4BC5D174-82E1-455A-8266-2EF651317590}" srcOrd="1" destOrd="0" presId="urn:microsoft.com/office/officeart/2005/8/layout/chevron2"/>
    <dgm:cxn modelId="{CBA1FCA5-D88A-4634-A734-21C7EC06ECDF}" type="presParOf" srcId="{CEB1617E-7ABE-4EBF-B914-C8E149BFD968}" destId="{F4A068E8-600F-46D8-82E3-B7B2E8ED51B3}" srcOrd="1" destOrd="0" presId="urn:microsoft.com/office/officeart/2005/8/layout/chevron2"/>
    <dgm:cxn modelId="{5360B221-D8D4-412C-807B-3261E0382DD5}" type="presParOf" srcId="{CEB1617E-7ABE-4EBF-B914-C8E149BFD968}" destId="{90FA17FB-56EA-4A20-A631-3E2625120CA1}" srcOrd="2" destOrd="0" presId="urn:microsoft.com/office/officeart/2005/8/layout/chevron2"/>
    <dgm:cxn modelId="{A3DC30C7-23CE-4997-9ECE-532381C4BB2F}" type="presParOf" srcId="{90FA17FB-56EA-4A20-A631-3E2625120CA1}" destId="{B3C1D9A3-46B4-4E40-BD14-497C0DCDB4DC}" srcOrd="0" destOrd="0" presId="urn:microsoft.com/office/officeart/2005/8/layout/chevron2"/>
    <dgm:cxn modelId="{FD12A492-39B5-4792-B0BB-3C586EFD36D6}" type="presParOf" srcId="{90FA17FB-56EA-4A20-A631-3E2625120CA1}" destId="{BA1055A7-1216-4086-83B6-4D1BE3CE8907}" srcOrd="1" destOrd="0" presId="urn:microsoft.com/office/officeart/2005/8/layout/chevron2"/>
    <dgm:cxn modelId="{AAE189DB-A15A-4625-8FD5-F4A1961C61BB}" type="presParOf" srcId="{CEB1617E-7ABE-4EBF-B914-C8E149BFD968}" destId="{6ACCA3A6-7906-4632-B4CE-95157EE0E867}" srcOrd="3" destOrd="0" presId="urn:microsoft.com/office/officeart/2005/8/layout/chevron2"/>
    <dgm:cxn modelId="{3C585B33-656C-4A2D-927D-C568722E1FD0}" type="presParOf" srcId="{CEB1617E-7ABE-4EBF-B914-C8E149BFD968}" destId="{A26BA277-20E8-46F6-83B8-E92FFAE0EF5A}" srcOrd="4" destOrd="0" presId="urn:microsoft.com/office/officeart/2005/8/layout/chevron2"/>
    <dgm:cxn modelId="{824851A4-7742-473D-BFE6-13768667F343}" type="presParOf" srcId="{A26BA277-20E8-46F6-83B8-E92FFAE0EF5A}" destId="{302FC55C-58A2-4FF3-96AC-10CFA0052481}" srcOrd="0" destOrd="0" presId="urn:microsoft.com/office/officeart/2005/8/layout/chevron2"/>
    <dgm:cxn modelId="{309CFD06-A489-4B77-BCBA-5398DBF950E6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Эффективное прохождение </a:t>
          </a:r>
          <a:r>
            <a:rPr lang="ru-RU" sz="18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лесопожарного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 сезона 2022 года: снижение</a:t>
          </a:r>
          <a:r>
            <a:rPr lang="ru-RU" sz="1800" b="1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площади лесных пожаров на территории лесного фонда Забайкальского края; </a:t>
          </a:r>
          <a:r>
            <a:rPr lang="ru-RU" sz="1800" b="1" dirty="0" err="1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остижениме</a:t>
          </a:r>
          <a:r>
            <a:rPr lang="ru-RU" sz="1800" b="1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показателя по оперативности тушения лесных пожаров в 1-е сутки с момента обнаружения до 65,6 %.</a:t>
          </a:r>
          <a:endParaRPr lang="ru-RU" sz="2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Увеличение кратности рейдовых мероприятий при осуществлении федерального государственного надзора в лесах</a:t>
          </a:r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беспечение баланса выбытия и воспроизводства лесов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D7191962-4BC0-451E-B00C-8790979A8506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воение расчетной лесосеки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8CD87D-CF8C-4EA8-A672-CE69C5626EBE}" type="parTrans" cxnId="{A85DF36E-A024-436B-969E-597E4F7CB2DE}">
      <dgm:prSet/>
      <dgm:spPr/>
      <dgm:t>
        <a:bodyPr/>
        <a:lstStyle/>
        <a:p>
          <a:endParaRPr lang="ru-RU"/>
        </a:p>
      </dgm:t>
    </dgm:pt>
    <dgm:pt modelId="{46ABC7E0-9A60-4226-AD94-F828496C0245}" type="sibTrans" cxnId="{A85DF36E-A024-436B-969E-597E4F7CB2DE}">
      <dgm:prSet/>
      <dgm:spPr/>
      <dgm:t>
        <a:bodyPr/>
        <a:lstStyle/>
        <a:p>
          <a:endParaRPr lang="ru-RU"/>
        </a:p>
      </dgm:t>
    </dgm:pt>
    <dgm:pt modelId="{B3BA627F-E5B2-44F3-BF25-8F6A9F5E1AB8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Увеличение площади переданных в аренду лесов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ACCC541-C502-4D28-97AF-8677BF1974E0}" type="parTrans" cxnId="{EA2A2FBB-62E7-4A9F-8357-6E4809391CDF}">
      <dgm:prSet/>
      <dgm:spPr/>
      <dgm:t>
        <a:bodyPr/>
        <a:lstStyle/>
        <a:p>
          <a:endParaRPr lang="ru-RU"/>
        </a:p>
      </dgm:t>
    </dgm:pt>
    <dgm:pt modelId="{C3711D7E-7433-4666-8088-9A952B26E850}" type="sibTrans" cxnId="{EA2A2FBB-62E7-4A9F-8357-6E4809391CDF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7BE2648-5F99-4719-8F2A-09105945E2D9}" type="presOf" srcId="{18728B41-1962-40FC-B86A-9356146B5A68}" destId="{B3C1D9A3-46B4-4E40-BD14-497C0DCDB4DC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EA2A2FBB-62E7-4A9F-8357-6E4809391CDF}" srcId="{DEA64100-CF05-47A1-B324-B7A5DDB36E93}" destId="{B3BA627F-E5B2-44F3-BF25-8F6A9F5E1AB8}" srcOrd="2" destOrd="0" parTransId="{0ACCC541-C502-4D28-97AF-8677BF1974E0}" sibTransId="{C3711D7E-7433-4666-8088-9A952B26E850}"/>
    <dgm:cxn modelId="{A85DF36E-A024-436B-969E-597E4F7CB2DE}" srcId="{DEA64100-CF05-47A1-B324-B7A5DDB36E93}" destId="{D7191962-4BC0-451E-B00C-8790979A8506}" srcOrd="1" destOrd="0" parTransId="{6F8CD87D-CF8C-4EA8-A672-CE69C5626EBE}" sibTransId="{46ABC7E0-9A60-4226-AD94-F828496C0245}"/>
    <dgm:cxn modelId="{D531D5A9-548C-4AA3-B6CB-9BF80063168D}" type="presOf" srcId="{DEA64100-CF05-47A1-B324-B7A5DDB36E93}" destId="{29C5F787-6539-40B8-B7D2-7E50296FD528}" srcOrd="0" destOrd="0" presId="urn:microsoft.com/office/officeart/2005/8/layout/chevron2"/>
    <dgm:cxn modelId="{F52A5E32-ACBC-4B32-A2F9-9C182906DB17}" type="presOf" srcId="{D411A21B-1094-4E74-9F1B-CF6C6E2B675E}" destId="{CEB1617E-7ABE-4EBF-B914-C8E149BFD968}" srcOrd="0" destOrd="0" presId="urn:microsoft.com/office/officeart/2005/8/layout/chevron2"/>
    <dgm:cxn modelId="{3A739F10-4764-41DC-8B8D-5696CB6251E3}" type="presOf" srcId="{58CB288E-F9F4-4BB8-9851-2A6C7C3578F4}" destId="{4BC5D174-82E1-455A-8266-2EF651317590}" srcOrd="0" destOrd="0" presId="urn:microsoft.com/office/officeart/2005/8/layout/chevron2"/>
    <dgm:cxn modelId="{5B97B4CA-3EE7-4552-9B17-D74072F11BEE}" type="presOf" srcId="{B3BA627F-E5B2-44F3-BF25-8F6A9F5E1AB8}" destId="{4BC5D174-82E1-455A-8266-2EF651317590}" srcOrd="0" destOrd="2" presId="urn:microsoft.com/office/officeart/2005/8/layout/chevron2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3D39D3DB-9F91-476F-BE5D-E88B099829E5}" type="presOf" srcId="{1ABDF41F-8084-474E-8ACB-67C32FF2A1EF}" destId="{054E0B3D-A8D3-46C8-8CC8-57479A6700D3}" srcOrd="0" destOrd="0" presId="urn:microsoft.com/office/officeart/2005/8/layout/chevron2"/>
    <dgm:cxn modelId="{39A78357-32E7-4E06-B52A-5B4B4631764F}" type="presOf" srcId="{A2D40B80-A2E8-49E7-8480-DF0AD1F27530}" destId="{BA1055A7-1216-4086-83B6-4D1BE3CE8907}" srcOrd="0" destOrd="0" presId="urn:microsoft.com/office/officeart/2005/8/layout/chevron2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5787B103-3A56-4B84-B16A-CCB5FEFB14FF}" type="presOf" srcId="{D7191962-4BC0-451E-B00C-8790979A8506}" destId="{4BC5D174-82E1-455A-8266-2EF651317590}" srcOrd="0" destOrd="1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D107575E-51D4-4191-9C99-47CDA3E4F165}" type="presOf" srcId="{E8C4C2EF-81D2-4B22-8A1D-88D0C558CD53}" destId="{302FC55C-58A2-4FF3-96AC-10CFA0052481}" srcOrd="0" destOrd="0" presId="urn:microsoft.com/office/officeart/2005/8/layout/chevron2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9EE8E352-333F-4663-9B4E-5D4E57AAA5C8}" type="presParOf" srcId="{CEB1617E-7ABE-4EBF-B914-C8E149BFD968}" destId="{85B13D13-17B0-48B9-8B0B-E25A451A0D88}" srcOrd="0" destOrd="0" presId="urn:microsoft.com/office/officeart/2005/8/layout/chevron2"/>
    <dgm:cxn modelId="{053691C2-83EA-4D07-B839-5734A0291D9E}" type="presParOf" srcId="{85B13D13-17B0-48B9-8B0B-E25A451A0D88}" destId="{29C5F787-6539-40B8-B7D2-7E50296FD528}" srcOrd="0" destOrd="0" presId="urn:microsoft.com/office/officeart/2005/8/layout/chevron2"/>
    <dgm:cxn modelId="{55149FB9-80FF-458F-B5CE-B0B0DF8E7A8A}" type="presParOf" srcId="{85B13D13-17B0-48B9-8B0B-E25A451A0D88}" destId="{4BC5D174-82E1-455A-8266-2EF651317590}" srcOrd="1" destOrd="0" presId="urn:microsoft.com/office/officeart/2005/8/layout/chevron2"/>
    <dgm:cxn modelId="{E9EE66FF-68C4-4510-B24C-021B6B1430C5}" type="presParOf" srcId="{CEB1617E-7ABE-4EBF-B914-C8E149BFD968}" destId="{F4A068E8-600F-46D8-82E3-B7B2E8ED51B3}" srcOrd="1" destOrd="0" presId="urn:microsoft.com/office/officeart/2005/8/layout/chevron2"/>
    <dgm:cxn modelId="{07811540-A5AF-4FC0-996C-1A556040DD82}" type="presParOf" srcId="{CEB1617E-7ABE-4EBF-B914-C8E149BFD968}" destId="{90FA17FB-56EA-4A20-A631-3E2625120CA1}" srcOrd="2" destOrd="0" presId="urn:microsoft.com/office/officeart/2005/8/layout/chevron2"/>
    <dgm:cxn modelId="{43411830-15E9-488D-8807-2DF4F6E2DBA2}" type="presParOf" srcId="{90FA17FB-56EA-4A20-A631-3E2625120CA1}" destId="{B3C1D9A3-46B4-4E40-BD14-497C0DCDB4DC}" srcOrd="0" destOrd="0" presId="urn:microsoft.com/office/officeart/2005/8/layout/chevron2"/>
    <dgm:cxn modelId="{8DD2D52A-704C-4850-BAB7-C903A912E169}" type="presParOf" srcId="{90FA17FB-56EA-4A20-A631-3E2625120CA1}" destId="{BA1055A7-1216-4086-83B6-4D1BE3CE8907}" srcOrd="1" destOrd="0" presId="urn:microsoft.com/office/officeart/2005/8/layout/chevron2"/>
    <dgm:cxn modelId="{34699FB2-4492-480B-9D44-12AADC1ADE0E}" type="presParOf" srcId="{CEB1617E-7ABE-4EBF-B914-C8E149BFD968}" destId="{6ACCA3A6-7906-4632-B4CE-95157EE0E867}" srcOrd="3" destOrd="0" presId="urn:microsoft.com/office/officeart/2005/8/layout/chevron2"/>
    <dgm:cxn modelId="{4B30E94D-D3C7-4014-B539-9C3CB68EF3B4}" type="presParOf" srcId="{CEB1617E-7ABE-4EBF-B914-C8E149BFD968}" destId="{A26BA277-20E8-46F6-83B8-E92FFAE0EF5A}" srcOrd="4" destOrd="0" presId="urn:microsoft.com/office/officeart/2005/8/layout/chevron2"/>
    <dgm:cxn modelId="{F58F242B-EB89-4EE7-8CBE-FE8B6703D32C}" type="presParOf" srcId="{A26BA277-20E8-46F6-83B8-E92FFAE0EF5A}" destId="{302FC55C-58A2-4FF3-96AC-10CFA0052481}" srcOrd="0" destOrd="0" presId="urn:microsoft.com/office/officeart/2005/8/layout/chevron2"/>
    <dgm:cxn modelId="{AC02A040-6489-4D37-954B-7E3A6741B0EF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безопасности гидротехнических сооружений</a:t>
          </a:r>
          <a:endParaRPr lang="ru-RU" sz="2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  <a:ln>
          <a:solidFill>
            <a:srgbClr val="4472C4"/>
          </a:solidFill>
        </a:ln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 custT="1"/>
      <dgm:spPr>
        <a:ln>
          <a:solidFill>
            <a:srgbClr val="4472C4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</a:t>
          </a:r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уществление мер по предотвращению негативного воздействия вод, охране водных объектов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265B2C4-AAA8-46DD-B26B-77129488817F}" type="presOf" srcId="{18728B41-1962-40FC-B86A-9356146B5A68}" destId="{B3C1D9A3-46B4-4E40-BD14-497C0DCDB4DC}" srcOrd="0" destOrd="0" presId="urn:microsoft.com/office/officeart/2005/8/layout/chevron2"/>
    <dgm:cxn modelId="{E15367B0-FA99-4E50-A528-B5FCC6965748}" type="presOf" srcId="{DEA64100-CF05-47A1-B324-B7A5DDB36E93}" destId="{29C5F787-6539-40B8-B7D2-7E50296FD528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65DF31C5-9B4E-4AAD-B8E8-984795B10ECB}" type="presOf" srcId="{1ABDF41F-8084-474E-8ACB-67C32FF2A1EF}" destId="{054E0B3D-A8D3-46C8-8CC8-57479A6700D3}" srcOrd="0" destOrd="0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2D6CF0F9-CEA4-4A50-BB31-09AAF45153EC}" type="presOf" srcId="{A2D40B80-A2E8-49E7-8480-DF0AD1F27530}" destId="{BA1055A7-1216-4086-83B6-4D1BE3CE8907}" srcOrd="0" destOrd="0" presId="urn:microsoft.com/office/officeart/2005/8/layout/chevron2"/>
    <dgm:cxn modelId="{F92B08AD-B108-4C84-BF1F-A66D87397A1E}" type="presOf" srcId="{58CB288E-F9F4-4BB8-9851-2A6C7C3578F4}" destId="{4BC5D174-82E1-455A-8266-2EF651317590}" srcOrd="0" destOrd="0" presId="urn:microsoft.com/office/officeart/2005/8/layout/chevron2"/>
    <dgm:cxn modelId="{1984E881-838C-4285-8BC4-BCA4389472E6}" type="presOf" srcId="{E8C4C2EF-81D2-4B22-8A1D-88D0C558CD53}" destId="{302FC55C-58A2-4FF3-96AC-10CFA0052481}" srcOrd="0" destOrd="0" presId="urn:microsoft.com/office/officeart/2005/8/layout/chevron2"/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02A43331-5277-4E48-BC4C-AC3D15B022B7}" type="presOf" srcId="{D411A21B-1094-4E74-9F1B-CF6C6E2B675E}" destId="{CEB1617E-7ABE-4EBF-B914-C8E149BFD968}" srcOrd="0" destOrd="0" presId="urn:microsoft.com/office/officeart/2005/8/layout/chevron2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DAFF2128-2C0E-4FF4-A73C-DC33CE0BDE02}" type="presParOf" srcId="{CEB1617E-7ABE-4EBF-B914-C8E149BFD968}" destId="{85B13D13-17B0-48B9-8B0B-E25A451A0D88}" srcOrd="0" destOrd="0" presId="urn:microsoft.com/office/officeart/2005/8/layout/chevron2"/>
    <dgm:cxn modelId="{AEDD6E97-2DAD-45AD-98EC-B62AD7691ACA}" type="presParOf" srcId="{85B13D13-17B0-48B9-8B0B-E25A451A0D88}" destId="{29C5F787-6539-40B8-B7D2-7E50296FD528}" srcOrd="0" destOrd="0" presId="urn:microsoft.com/office/officeart/2005/8/layout/chevron2"/>
    <dgm:cxn modelId="{0620173E-C6D6-4E4E-96A2-2BDD79788AFE}" type="presParOf" srcId="{85B13D13-17B0-48B9-8B0B-E25A451A0D88}" destId="{4BC5D174-82E1-455A-8266-2EF651317590}" srcOrd="1" destOrd="0" presId="urn:microsoft.com/office/officeart/2005/8/layout/chevron2"/>
    <dgm:cxn modelId="{406F41AA-2CC2-465B-8EC6-1A26630FA411}" type="presParOf" srcId="{CEB1617E-7ABE-4EBF-B914-C8E149BFD968}" destId="{F4A068E8-600F-46D8-82E3-B7B2E8ED51B3}" srcOrd="1" destOrd="0" presId="urn:microsoft.com/office/officeart/2005/8/layout/chevron2"/>
    <dgm:cxn modelId="{E875CA68-5BDB-4820-9312-5BEA7E42E392}" type="presParOf" srcId="{CEB1617E-7ABE-4EBF-B914-C8E149BFD968}" destId="{90FA17FB-56EA-4A20-A631-3E2625120CA1}" srcOrd="2" destOrd="0" presId="urn:microsoft.com/office/officeart/2005/8/layout/chevron2"/>
    <dgm:cxn modelId="{B3EABB9A-40BB-464C-B4F2-03E095640AB4}" type="presParOf" srcId="{90FA17FB-56EA-4A20-A631-3E2625120CA1}" destId="{B3C1D9A3-46B4-4E40-BD14-497C0DCDB4DC}" srcOrd="0" destOrd="0" presId="urn:microsoft.com/office/officeart/2005/8/layout/chevron2"/>
    <dgm:cxn modelId="{98A22E46-CE24-471A-812F-52371FB44A88}" type="presParOf" srcId="{90FA17FB-56EA-4A20-A631-3E2625120CA1}" destId="{BA1055A7-1216-4086-83B6-4D1BE3CE8907}" srcOrd="1" destOrd="0" presId="urn:microsoft.com/office/officeart/2005/8/layout/chevron2"/>
    <dgm:cxn modelId="{907EACD3-6651-42C8-B92A-98BC192538FB}" type="presParOf" srcId="{CEB1617E-7ABE-4EBF-B914-C8E149BFD968}" destId="{6ACCA3A6-7906-4632-B4CE-95157EE0E867}" srcOrd="3" destOrd="0" presId="urn:microsoft.com/office/officeart/2005/8/layout/chevron2"/>
    <dgm:cxn modelId="{607F9CC4-35A8-42F9-BF7E-847E5EB12CE9}" type="presParOf" srcId="{CEB1617E-7ABE-4EBF-B914-C8E149BFD968}" destId="{A26BA277-20E8-46F6-83B8-E92FFAE0EF5A}" srcOrd="4" destOrd="0" presId="urn:microsoft.com/office/officeart/2005/8/layout/chevron2"/>
    <dgm:cxn modelId="{7DF551E5-0331-4112-A9AD-189437FF0AD8}" type="presParOf" srcId="{A26BA277-20E8-46F6-83B8-E92FFAE0EF5A}" destId="{302FC55C-58A2-4FF3-96AC-10CFA0052481}" srcOrd="0" destOrd="0" presId="urn:microsoft.com/office/officeart/2005/8/layout/chevron2"/>
    <dgm:cxn modelId="{7F00ACF7-613C-4404-96B7-90E9BE5AFD49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444" y="389253"/>
          <a:ext cx="1847806" cy="1293464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</a:t>
          </a:r>
          <a:endParaRPr lang="ru-RU" sz="3600" kern="1200" dirty="0"/>
        </a:p>
      </dsp:txBody>
      <dsp:txXfrm rot="-5400000">
        <a:off x="22727" y="758814"/>
        <a:ext cx="1293464" cy="554342"/>
      </dsp:txXfrm>
    </dsp:sp>
    <dsp:sp modelId="{4BC5D174-82E1-455A-8266-2EF651317590}">
      <dsp:nvSpPr>
        <dsp:cNvPr id="0" name=""/>
        <dsp:cNvSpPr/>
      </dsp:nvSpPr>
      <dsp:spPr>
        <a:xfrm rot="5400000">
          <a:off x="5508566" y="-4063929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sz="19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</a:t>
          </a:r>
          <a:r>
            <a:rPr lang="ru-RU" sz="1900" kern="1200" dirty="0" smtClean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 и их биологического разнообразия</a:t>
          </a:r>
          <a:endParaRPr lang="ru-RU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209805"/>
        <a:ext cx="9572646" cy="1083810"/>
      </dsp:txXfrm>
    </dsp:sp>
    <dsp:sp modelId="{B3C1D9A3-46B4-4E40-BD14-497C0DCDB4DC}">
      <dsp:nvSpPr>
        <dsp:cNvPr id="0" name=""/>
        <dsp:cNvSpPr/>
      </dsp:nvSpPr>
      <dsp:spPr>
        <a:xfrm rot="5400000">
          <a:off x="-277170" y="1934650"/>
          <a:ext cx="1847806" cy="1293464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</a:t>
          </a:r>
          <a:endParaRPr lang="ru-RU" sz="3600" kern="1200" dirty="0"/>
        </a:p>
      </dsp:txBody>
      <dsp:txXfrm rot="-5400000">
        <a:off x="1" y="2304211"/>
        <a:ext cx="1293464" cy="554342"/>
      </dsp:txXfrm>
    </dsp:sp>
    <dsp:sp modelId="{BA1055A7-1216-4086-83B6-4D1BE3CE8907}">
      <dsp:nvSpPr>
        <dsp:cNvPr id="0" name=""/>
        <dsp:cNvSpPr/>
      </dsp:nvSpPr>
      <dsp:spPr>
        <a:xfrm rot="5400000">
          <a:off x="5508566" y="-2557622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b="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Защита населенных пунктов и жителей Забайкальского края от наводнений;</a:t>
          </a:r>
          <a:endParaRPr lang="ru-RU" sz="19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b="0" kern="1200" dirty="0" smtClean="0"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</a:t>
          </a:r>
          <a:r>
            <a:rPr lang="ru-RU" sz="1900" b="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; </a:t>
          </a:r>
          <a:endParaRPr lang="ru-RU" sz="19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Развитие минерально-сырьевой базы полезных ископаемых и подземных вод</a:t>
          </a:r>
          <a:endParaRPr lang="ru-RU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1716112"/>
        <a:ext cx="9572646" cy="1083810"/>
      </dsp:txXfrm>
    </dsp:sp>
    <dsp:sp modelId="{302FC55C-58A2-4FF3-96AC-10CFA0052481}">
      <dsp:nvSpPr>
        <dsp:cNvPr id="0" name=""/>
        <dsp:cNvSpPr/>
      </dsp:nvSpPr>
      <dsp:spPr>
        <a:xfrm rot="5400000">
          <a:off x="-277170" y="3590731"/>
          <a:ext cx="1847806" cy="1293464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I</a:t>
          </a:r>
          <a:endParaRPr lang="ru-RU" sz="3600" kern="1200" dirty="0"/>
        </a:p>
      </dsp:txBody>
      <dsp:txXfrm rot="-5400000">
        <a:off x="1" y="3960292"/>
        <a:ext cx="1293464" cy="554342"/>
      </dsp:txXfrm>
    </dsp:sp>
    <dsp:sp modelId="{054E0B3D-A8D3-46C8-8CC8-57479A6700D3}">
      <dsp:nvSpPr>
        <dsp:cNvPr id="0" name=""/>
        <dsp:cNvSpPr/>
      </dsp:nvSpPr>
      <dsp:spPr>
        <a:xfrm rot="5400000">
          <a:off x="5508566" y="-901541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9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sz="1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3372193"/>
        <a:ext cx="9572646" cy="108381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444" y="389253"/>
          <a:ext cx="1847806" cy="1293464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</a:t>
          </a:r>
          <a:endParaRPr lang="ru-RU" sz="3600" kern="1200" dirty="0"/>
        </a:p>
      </dsp:txBody>
      <dsp:txXfrm rot="-5400000">
        <a:off x="22727" y="758814"/>
        <a:ext cx="1293464" cy="554342"/>
      </dsp:txXfrm>
    </dsp:sp>
    <dsp:sp modelId="{4BC5D174-82E1-455A-8266-2EF651317590}">
      <dsp:nvSpPr>
        <dsp:cNvPr id="0" name=""/>
        <dsp:cNvSpPr/>
      </dsp:nvSpPr>
      <dsp:spPr>
        <a:xfrm rot="5400000">
          <a:off x="4491274" y="-3046637"/>
          <a:ext cx="1201074" cy="75966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есперебойная работа регионального оператора по обращению с ТКО</a:t>
          </a:r>
          <a:endParaRPr lang="ru-RU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209805"/>
        <a:ext cx="7538062" cy="1083810"/>
      </dsp:txXfrm>
    </dsp:sp>
    <dsp:sp modelId="{B3C1D9A3-46B4-4E40-BD14-497C0DCDB4DC}">
      <dsp:nvSpPr>
        <dsp:cNvPr id="0" name=""/>
        <dsp:cNvSpPr/>
      </dsp:nvSpPr>
      <dsp:spPr>
        <a:xfrm rot="5400000">
          <a:off x="-277170" y="1934650"/>
          <a:ext cx="1847806" cy="1293464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</a:t>
          </a:r>
          <a:endParaRPr lang="ru-RU" sz="3600" kern="1200" dirty="0"/>
        </a:p>
      </dsp:txBody>
      <dsp:txXfrm rot="-5400000">
        <a:off x="1" y="2304211"/>
        <a:ext cx="1293464" cy="554342"/>
      </dsp:txXfrm>
    </dsp:sp>
    <dsp:sp modelId="{BA1055A7-1216-4086-83B6-4D1BE3CE8907}">
      <dsp:nvSpPr>
        <dsp:cNvPr id="0" name=""/>
        <dsp:cNvSpPr/>
      </dsp:nvSpPr>
      <dsp:spPr>
        <a:xfrm rot="5400000">
          <a:off x="4491274" y="-1540330"/>
          <a:ext cx="1201074" cy="75966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Корректировка</a:t>
          </a:r>
          <a:r>
            <a:rPr lang="ru-RU" sz="2000" b="1" kern="1200" baseline="0" dirty="0" smtClean="0">
              <a:latin typeface="Calibri" panose="020F0502020204030204" pitchFamily="34" charset="0"/>
              <a:cs typeface="Calibri" panose="020F0502020204030204" pitchFamily="34" charset="0"/>
            </a:rPr>
            <a:t> территориальной схемы обращения с отходами </a:t>
          </a:r>
          <a:endParaRPr lang="ru-RU" sz="20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1716112"/>
        <a:ext cx="7538062" cy="1083810"/>
      </dsp:txXfrm>
    </dsp:sp>
    <dsp:sp modelId="{302FC55C-58A2-4FF3-96AC-10CFA0052481}">
      <dsp:nvSpPr>
        <dsp:cNvPr id="0" name=""/>
        <dsp:cNvSpPr/>
      </dsp:nvSpPr>
      <dsp:spPr>
        <a:xfrm rot="5400000">
          <a:off x="-277170" y="3590731"/>
          <a:ext cx="1847806" cy="1293464"/>
        </a:xfrm>
        <a:prstGeom prst="chevron">
          <a:avLst/>
        </a:prstGeom>
        <a:solidFill>
          <a:srgbClr val="FF9900"/>
        </a:solidFill>
        <a:ln w="28575" cap="flat" cmpd="sng" algn="ctr">
          <a:solidFill>
            <a:srgbClr val="FF99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I</a:t>
          </a:r>
          <a:endParaRPr lang="ru-RU" sz="3600" kern="1200" dirty="0"/>
        </a:p>
      </dsp:txBody>
      <dsp:txXfrm rot="-5400000">
        <a:off x="1" y="3960292"/>
        <a:ext cx="1293464" cy="554342"/>
      </dsp:txXfrm>
    </dsp:sp>
    <dsp:sp modelId="{054E0B3D-A8D3-46C8-8CC8-57479A6700D3}">
      <dsp:nvSpPr>
        <dsp:cNvPr id="0" name=""/>
        <dsp:cNvSpPr/>
      </dsp:nvSpPr>
      <dsp:spPr>
        <a:xfrm rot="5400000">
          <a:off x="4491274" y="115750"/>
          <a:ext cx="1201074" cy="759669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FF99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Создание комплексной инфраструктуры обращения с ТКО</a:t>
          </a:r>
          <a:endParaRPr lang="ru-RU" sz="20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Внедрение раздельного накопления ТКО среди населения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293464" y="3372192"/>
        <a:ext cx="7538062" cy="108381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BC325A-DED8-4982-84DC-CF64EE7D5222}">
      <dsp:nvSpPr>
        <dsp:cNvPr id="0" name=""/>
        <dsp:cNvSpPr/>
      </dsp:nvSpPr>
      <dsp:spPr>
        <a:xfrm rot="5400000">
          <a:off x="-171286" y="176628"/>
          <a:ext cx="1141908" cy="799335"/>
        </a:xfrm>
        <a:prstGeom prst="chevron">
          <a:avLst/>
        </a:prstGeom>
        <a:solidFill>
          <a:srgbClr val="FFC000"/>
        </a:solidFill>
        <a:ln w="6350" cap="flat" cmpd="sng" algn="ctr">
          <a:solidFill>
            <a:schemeClr val="accent1">
              <a:lumMod val="20000"/>
              <a:lumOff val="80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kern="1200" dirty="0" smtClean="0"/>
            <a:t>ОБЪЕМЫ ТКО/МАССА ТКО</a:t>
          </a:r>
          <a:endParaRPr lang="ru-RU" sz="1000" kern="1200" dirty="0"/>
        </a:p>
      </dsp:txBody>
      <dsp:txXfrm rot="-5400000">
        <a:off x="1" y="405010"/>
        <a:ext cx="799335" cy="342573"/>
      </dsp:txXfrm>
    </dsp:sp>
    <dsp:sp modelId="{CFAB6908-6DDD-4E51-B4A6-72B996B97DCE}">
      <dsp:nvSpPr>
        <dsp:cNvPr id="0" name=""/>
        <dsp:cNvSpPr/>
      </dsp:nvSpPr>
      <dsp:spPr>
        <a:xfrm rot="5400000">
          <a:off x="2564534" y="-1759856"/>
          <a:ext cx="742630" cy="42730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2 500 млн.</a:t>
          </a:r>
          <a:r>
            <a:rPr lang="ru-RU" sz="1300" b="0" i="0" kern="1200" dirty="0" smtClean="0">
              <a:effectLst/>
              <a:latin typeface="+mn-lt"/>
              <a:ea typeface="+mn-ea"/>
              <a:cs typeface="+mn-cs"/>
            </a:rPr>
            <a:t> м³/</a:t>
          </a:r>
          <a:r>
            <a:rPr lang="ru-RU" sz="1300" b="0" i="0" kern="1200" dirty="0" smtClean="0"/>
            <a:t>365 </a:t>
          </a:r>
          <a:r>
            <a:rPr lang="ru-RU" sz="1300" b="0" i="0" kern="1200" dirty="0" err="1" smtClean="0"/>
            <a:t>тыс.тонн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плотность ТКО – 166 кг/м</a:t>
          </a:r>
          <a:r>
            <a:rPr lang="ru-RU" sz="1300" b="0" i="0" kern="1200" dirty="0" smtClean="0">
              <a:effectLst/>
              <a:latin typeface="+mn-lt"/>
              <a:ea typeface="+mn-ea"/>
              <a:cs typeface="+mn-cs"/>
            </a:rPr>
            <a:t>³</a:t>
          </a:r>
          <a:endParaRPr lang="ru-RU" sz="1300" kern="1200" dirty="0"/>
        </a:p>
      </dsp:txBody>
      <dsp:txXfrm rot="-5400000">
        <a:off x="799335" y="41595"/>
        <a:ext cx="4236776" cy="670126"/>
      </dsp:txXfrm>
    </dsp:sp>
    <dsp:sp modelId="{5830D85E-A790-45FA-B823-67495E792902}">
      <dsp:nvSpPr>
        <dsp:cNvPr id="0" name=""/>
        <dsp:cNvSpPr/>
      </dsp:nvSpPr>
      <dsp:spPr>
        <a:xfrm rot="5400000">
          <a:off x="-171286" y="1202124"/>
          <a:ext cx="1141908" cy="799335"/>
        </a:xfrm>
        <a:prstGeom prst="chevron">
          <a:avLst/>
        </a:prstGeom>
        <a:solidFill>
          <a:srgbClr val="92D050"/>
        </a:solidFill>
        <a:ln w="6350" cap="flat" cmpd="sng" algn="ctr">
          <a:solidFill>
            <a:schemeClr val="accent1">
              <a:lumMod val="20000"/>
              <a:lumOff val="8000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kern="1200" dirty="0" smtClean="0"/>
            <a:t>НОРМАТИВЫ НАКОПЛЕНИЯ ТКО</a:t>
          </a:r>
          <a:endParaRPr lang="ru-RU" sz="1000" kern="1200" dirty="0"/>
        </a:p>
      </dsp:txBody>
      <dsp:txXfrm rot="-5400000">
        <a:off x="1" y="1430506"/>
        <a:ext cx="799335" cy="342573"/>
      </dsp:txXfrm>
    </dsp:sp>
    <dsp:sp modelId="{1A72E4E0-D485-4223-A72A-35584D344258}">
      <dsp:nvSpPr>
        <dsp:cNvPr id="0" name=""/>
        <dsp:cNvSpPr/>
      </dsp:nvSpPr>
      <dsp:spPr>
        <a:xfrm rot="5400000">
          <a:off x="2564729" y="-734555"/>
          <a:ext cx="742240" cy="42730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ИЖС  - 1,307</a:t>
          </a:r>
          <a:r>
            <a:rPr lang="ru-RU" sz="1300" b="0" i="0" kern="1200" dirty="0" smtClean="0">
              <a:effectLst/>
              <a:latin typeface="+mn-lt"/>
              <a:ea typeface="+mn-ea"/>
              <a:cs typeface="+mn-cs"/>
            </a:rPr>
            <a:t>м³/год </a:t>
          </a:r>
          <a:endParaRPr lang="ru-RU" sz="1300" kern="1200" dirty="0"/>
        </a:p>
        <a:p>
          <a:pPr marL="114300" lvl="1" indent="-114300" algn="l" defTabSz="5778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МКД -  1,886 </a:t>
          </a:r>
          <a:r>
            <a:rPr lang="ru-RU" sz="1300" b="0" i="0" kern="1200" dirty="0" smtClean="0">
              <a:effectLst/>
              <a:latin typeface="+mn-lt"/>
              <a:ea typeface="+mn-ea"/>
              <a:cs typeface="+mn-cs"/>
            </a:rPr>
            <a:t>м³/год</a:t>
          </a:r>
          <a:endParaRPr lang="ru-RU" sz="1300" b="0" i="0" kern="1200" dirty="0" smtClean="0"/>
        </a:p>
      </dsp:txBody>
      <dsp:txXfrm rot="-5400000">
        <a:off x="799336" y="1067071"/>
        <a:ext cx="4236795" cy="669774"/>
      </dsp:txXfrm>
    </dsp:sp>
    <dsp:sp modelId="{CFE1D3BC-BEC4-4BBF-A75D-46135BC6291F}">
      <dsp:nvSpPr>
        <dsp:cNvPr id="0" name=""/>
        <dsp:cNvSpPr/>
      </dsp:nvSpPr>
      <dsp:spPr>
        <a:xfrm rot="5400000">
          <a:off x="-171286" y="2227620"/>
          <a:ext cx="1141908" cy="799335"/>
        </a:xfrm>
        <a:prstGeom prst="chevron">
          <a:avLst/>
        </a:prstGeom>
        <a:solidFill>
          <a:srgbClr val="82D8CA"/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b="1" i="0" kern="1200" dirty="0" smtClean="0"/>
            <a:t>КОНТЕЙНЕРНЫЙ ПАРК/ПАРК СПЕЦТЕХНИКИ</a:t>
          </a:r>
          <a:endParaRPr lang="ru-RU" sz="700" kern="1200" dirty="0"/>
        </a:p>
      </dsp:txBody>
      <dsp:txXfrm rot="-5400000">
        <a:off x="1" y="2456002"/>
        <a:ext cx="799335" cy="342573"/>
      </dsp:txXfrm>
    </dsp:sp>
    <dsp:sp modelId="{D2A33958-7C6B-4F51-8A23-ABB85E8F8A15}">
      <dsp:nvSpPr>
        <dsp:cNvPr id="0" name=""/>
        <dsp:cNvSpPr/>
      </dsp:nvSpPr>
      <dsp:spPr>
        <a:xfrm rot="5400000">
          <a:off x="2564729" y="290940"/>
          <a:ext cx="742240" cy="42730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15 778 контейнеров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120 мусоровозов</a:t>
          </a:r>
          <a:endParaRPr lang="ru-RU" sz="1300" kern="1200" dirty="0"/>
        </a:p>
      </dsp:txBody>
      <dsp:txXfrm rot="-5400000">
        <a:off x="799336" y="2092567"/>
        <a:ext cx="4236795" cy="669774"/>
      </dsp:txXfrm>
    </dsp:sp>
    <dsp:sp modelId="{16617CEC-3823-4169-9DE4-08B228DB9C4E}">
      <dsp:nvSpPr>
        <dsp:cNvPr id="0" name=""/>
        <dsp:cNvSpPr/>
      </dsp:nvSpPr>
      <dsp:spPr>
        <a:xfrm rot="5400000">
          <a:off x="-171286" y="3253116"/>
          <a:ext cx="1141908" cy="799335"/>
        </a:xfrm>
        <a:prstGeom prst="chevron">
          <a:avLst/>
        </a:prstGeom>
        <a:solidFill>
          <a:srgbClr val="7483A0"/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ОБЪЕКТЫ ИНФРАСТРУК-ТУРЫ</a:t>
          </a:r>
          <a:endParaRPr lang="ru-RU" sz="1000" b="1" kern="1200" dirty="0"/>
        </a:p>
      </dsp:txBody>
      <dsp:txXfrm rot="-5400000">
        <a:off x="1" y="3481498"/>
        <a:ext cx="799335" cy="342573"/>
      </dsp:txXfrm>
    </dsp:sp>
    <dsp:sp modelId="{7A4AF501-658F-42DF-B379-505AF3AFA959}">
      <dsp:nvSpPr>
        <dsp:cNvPr id="0" name=""/>
        <dsp:cNvSpPr/>
      </dsp:nvSpPr>
      <dsp:spPr>
        <a:xfrm rot="5400000">
          <a:off x="2564729" y="1316436"/>
          <a:ext cx="742240" cy="42730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4 полигона/ 5 сортировок/ 20 свалок                         (Задача – оптимизация потоков и сокращение              затрат на транспортирование)</a:t>
          </a:r>
          <a:endParaRPr lang="ru-RU" sz="1300" kern="1200" dirty="0"/>
        </a:p>
      </dsp:txBody>
      <dsp:txXfrm rot="-5400000">
        <a:off x="799336" y="3118063"/>
        <a:ext cx="4236795" cy="669774"/>
      </dsp:txXfrm>
    </dsp:sp>
    <dsp:sp modelId="{833DC541-69EA-4C2F-B343-53019084D906}">
      <dsp:nvSpPr>
        <dsp:cNvPr id="0" name=""/>
        <dsp:cNvSpPr/>
      </dsp:nvSpPr>
      <dsp:spPr>
        <a:xfrm rot="5400000">
          <a:off x="-171286" y="4278612"/>
          <a:ext cx="1141908" cy="799335"/>
        </a:xfrm>
        <a:prstGeom prst="chevron">
          <a:avLst/>
        </a:prstGeom>
        <a:solidFill>
          <a:srgbClr val="CF8E8E"/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РАЗДЕЛЬНЫЙ СБОР ТКО</a:t>
          </a:r>
          <a:endParaRPr lang="ru-RU" sz="1000" b="1" kern="1200" dirty="0"/>
        </a:p>
      </dsp:txBody>
      <dsp:txXfrm rot="-5400000">
        <a:off x="1" y="4506994"/>
        <a:ext cx="799335" cy="342573"/>
      </dsp:txXfrm>
    </dsp:sp>
    <dsp:sp modelId="{EC9C46DF-6FBF-43F2-AAB1-1D1F82D68D04}">
      <dsp:nvSpPr>
        <dsp:cNvPr id="0" name=""/>
        <dsp:cNvSpPr/>
      </dsp:nvSpPr>
      <dsp:spPr>
        <a:xfrm rot="5400000">
          <a:off x="2564729" y="2341932"/>
          <a:ext cx="742240" cy="42730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0" i="0" kern="1200" dirty="0" smtClean="0"/>
            <a:t> 2021 - г. Чита</a:t>
          </a:r>
          <a:r>
            <a:rPr lang="ru-RU" sz="1300" b="0" i="0" kern="1200" baseline="0" dirty="0" smtClean="0"/>
            <a:t> (2880 контейнеров/1000 контейнерных площадок в г. Чита (МКД, соц. объекты (школы, детские сады, учреждения культуры, парки)</a:t>
          </a:r>
          <a:endParaRPr lang="ru-RU" sz="1300" kern="1200" dirty="0"/>
        </a:p>
      </dsp:txBody>
      <dsp:txXfrm rot="-5400000">
        <a:off x="799336" y="4143559"/>
        <a:ext cx="4236795" cy="66977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61839" y="435280"/>
          <a:ext cx="1499368" cy="1049557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b="1" kern="1200" dirty="0">
            <a:latin typeface="+mn-lt"/>
          </a:endParaRPr>
        </a:p>
      </dsp:txBody>
      <dsp:txXfrm rot="-5400000">
        <a:off x="163067" y="735154"/>
        <a:ext cx="1049557" cy="449811"/>
      </dsp:txXfrm>
    </dsp:sp>
    <dsp:sp modelId="{5ECE7EA3-A7E3-4E0C-B975-41F9C359BA6D}">
      <dsp:nvSpPr>
        <dsp:cNvPr id="0" name=""/>
        <dsp:cNvSpPr/>
      </dsp:nvSpPr>
      <dsp:spPr>
        <a:xfrm rot="5400000">
          <a:off x="3549255" y="-2083272"/>
          <a:ext cx="974589" cy="563999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нижение загрязнения атмосферного воздуха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16554" y="297005"/>
        <a:ext cx="5592415" cy="879437"/>
      </dsp:txXfrm>
    </dsp:sp>
    <dsp:sp modelId="{EAE1A14D-E2BD-42E6-894E-5B7C5940284F}">
      <dsp:nvSpPr>
        <dsp:cNvPr id="0" name=""/>
        <dsp:cNvSpPr/>
      </dsp:nvSpPr>
      <dsp:spPr>
        <a:xfrm rot="5400000">
          <a:off x="-61839" y="1744416"/>
          <a:ext cx="1499368" cy="1049557"/>
        </a:xfrm>
        <a:prstGeom prst="chevron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b="1" kern="1200" dirty="0">
            <a:latin typeface="+mn-lt"/>
          </a:endParaRPr>
        </a:p>
      </dsp:txBody>
      <dsp:txXfrm rot="-5400000">
        <a:off x="163067" y="2044290"/>
        <a:ext cx="1049557" cy="449811"/>
      </dsp:txXfrm>
    </dsp:sp>
    <dsp:sp modelId="{7215DEBD-BA07-40B8-9084-51F9C12F89A0}">
      <dsp:nvSpPr>
        <dsp:cNvPr id="0" name=""/>
        <dsp:cNvSpPr/>
      </dsp:nvSpPr>
      <dsp:spPr>
        <a:xfrm rot="5400000">
          <a:off x="3577135" y="-852983"/>
          <a:ext cx="983701" cy="57307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окращение объемов сбросов загрязненных сточных вод в водные объекты Байкальской природной территории в границах Забайкальского края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03617" y="1568555"/>
        <a:ext cx="5682718" cy="887661"/>
      </dsp:txXfrm>
    </dsp:sp>
    <dsp:sp modelId="{A7EDEBFF-6510-4F63-9A07-4BC55A52FD68}">
      <dsp:nvSpPr>
        <dsp:cNvPr id="0" name=""/>
        <dsp:cNvSpPr/>
      </dsp:nvSpPr>
      <dsp:spPr>
        <a:xfrm rot="5400000">
          <a:off x="-61839" y="3036387"/>
          <a:ext cx="1499368" cy="1049557"/>
        </a:xfrm>
        <a:prstGeom prst="chevron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b="1" kern="1200" dirty="0">
            <a:latin typeface="+mn-lt"/>
          </a:endParaRPr>
        </a:p>
      </dsp:txBody>
      <dsp:txXfrm rot="-5400000">
        <a:off x="163067" y="3336261"/>
        <a:ext cx="1049557" cy="449811"/>
      </dsp:txXfrm>
    </dsp:sp>
    <dsp:sp modelId="{DBFDEF8E-11A9-45BD-BD7E-4BCEC19E877E}">
      <dsp:nvSpPr>
        <dsp:cNvPr id="0" name=""/>
        <dsp:cNvSpPr/>
      </dsp:nvSpPr>
      <dsp:spPr>
        <a:xfrm rot="5400000">
          <a:off x="3223810" y="825349"/>
          <a:ext cx="886047" cy="4909758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Развитие системы особо-охраняемых природных территорий регионального значения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11955" y="2880458"/>
        <a:ext cx="4866505" cy="799541"/>
      </dsp:txXfrm>
    </dsp:sp>
    <dsp:sp modelId="{6266A4CE-0042-4292-B875-D6ED7F251C27}">
      <dsp:nvSpPr>
        <dsp:cNvPr id="0" name=""/>
        <dsp:cNvSpPr/>
      </dsp:nvSpPr>
      <dsp:spPr>
        <a:xfrm rot="5400000">
          <a:off x="-61839" y="4228835"/>
          <a:ext cx="1499368" cy="1049557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900" b="1" kern="1200" dirty="0">
            <a:latin typeface="+mn-lt"/>
          </a:endParaRPr>
        </a:p>
      </dsp:txBody>
      <dsp:txXfrm rot="-5400000">
        <a:off x="163067" y="4528709"/>
        <a:ext cx="1049557" cy="449811"/>
      </dsp:txXfrm>
    </dsp:sp>
    <dsp:sp modelId="{0DCE86FE-6538-44FF-BC5D-ADC3507C2F5A}">
      <dsp:nvSpPr>
        <dsp:cNvPr id="0" name=""/>
        <dsp:cNvSpPr/>
      </dsp:nvSpPr>
      <dsp:spPr>
        <a:xfrm rot="5400000">
          <a:off x="3503364" y="1748153"/>
          <a:ext cx="1220224" cy="575175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рганизация и обеспечение  природоохранной и научно-исследовательской деятельности. 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Повышение уровня экологической культуры, воспитание и просвещение населения края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37600" y="4073483"/>
        <a:ext cx="5692187" cy="1101092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196" y="391394"/>
          <a:ext cx="1846001" cy="1292201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22705" y="760595"/>
        <a:ext cx="1292201" cy="553800"/>
      </dsp:txXfrm>
    </dsp:sp>
    <dsp:sp modelId="{4BC5D174-82E1-455A-8266-2EF651317590}">
      <dsp:nvSpPr>
        <dsp:cNvPr id="0" name=""/>
        <dsp:cNvSpPr/>
      </dsp:nvSpPr>
      <dsp:spPr>
        <a:xfrm rot="5400000">
          <a:off x="5508521" y="-40627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В рамках реализации регионального проекта «Чистый воздух»: закрытие 3 котельных и строительство троллейбусной линии «Троллейбусное депо – </a:t>
          </a:r>
          <a:r>
            <a:rPr lang="ru-RU" sz="1600" b="1" kern="1200" dirty="0" err="1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Каштак</a:t>
          </a:r>
          <a:r>
            <a:rPr lang="ru-RU" sz="1600" b="1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» </a:t>
          </a: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212120"/>
        <a:ext cx="9573967" cy="1082753"/>
      </dsp:txXfrm>
    </dsp:sp>
    <dsp:sp modelId="{B3C1D9A3-46B4-4E40-BD14-497C0DCDB4DC}">
      <dsp:nvSpPr>
        <dsp:cNvPr id="0" name=""/>
        <dsp:cNvSpPr/>
      </dsp:nvSpPr>
      <dsp:spPr>
        <a:xfrm rot="5400000">
          <a:off x="-276900" y="1935282"/>
          <a:ext cx="1846001" cy="1292201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2304483"/>
        <a:ext cx="1292201" cy="553800"/>
      </dsp:txXfrm>
    </dsp:sp>
    <dsp:sp modelId="{BA1055A7-1216-4086-83B6-4D1BE3CE8907}">
      <dsp:nvSpPr>
        <dsp:cNvPr id="0" name=""/>
        <dsp:cNvSpPr/>
      </dsp:nvSpPr>
      <dsp:spPr>
        <a:xfrm rot="5400000">
          <a:off x="5508521" y="-2557938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В рамках реализации регионального проекта «Сохранение озера Байкал»: строительство очистных сооружений в п. Тарбагатай Петровск-Забайкальского района и п. ст. Жипхеген Хилокского района, реконструкция очистных сооружений в г. Хилок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1716956"/>
        <a:ext cx="9573967" cy="1082753"/>
      </dsp:txXfrm>
    </dsp:sp>
    <dsp:sp modelId="{302FC55C-58A2-4FF3-96AC-10CFA0052481}">
      <dsp:nvSpPr>
        <dsp:cNvPr id="0" name=""/>
        <dsp:cNvSpPr/>
      </dsp:nvSpPr>
      <dsp:spPr>
        <a:xfrm rot="5400000">
          <a:off x="-276900" y="3589746"/>
          <a:ext cx="1846001" cy="1292201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3958947"/>
        <a:ext cx="1292201" cy="553800"/>
      </dsp:txXfrm>
    </dsp:sp>
    <dsp:sp modelId="{054E0B3D-A8D3-46C8-8CC8-57479A6700D3}">
      <dsp:nvSpPr>
        <dsp:cNvPr id="0" name=""/>
        <dsp:cNvSpPr/>
      </dsp:nvSpPr>
      <dsp:spPr>
        <a:xfrm rot="5400000">
          <a:off x="5508521" y="-9034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существление регионального государственного надзора в области охраны окружающей среды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рганизация и обеспечение  природоохранной, научно-исследовательской и эколого-просветительской деятельности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3371420"/>
        <a:ext cx="9573967" cy="1082753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196" y="391394"/>
          <a:ext cx="1846001" cy="1292201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22705" y="760595"/>
        <a:ext cx="1292201" cy="553800"/>
      </dsp:txXfrm>
    </dsp:sp>
    <dsp:sp modelId="{4BC5D174-82E1-455A-8266-2EF651317590}">
      <dsp:nvSpPr>
        <dsp:cNvPr id="0" name=""/>
        <dsp:cNvSpPr/>
      </dsp:nvSpPr>
      <dsp:spPr>
        <a:xfrm rot="5400000">
          <a:off x="5508521" y="-40627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Рациональное и неистощимое использование охотничьих ресурсов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Обеспечение доступности охотничьих ресурсов для охотников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212120"/>
        <a:ext cx="9573967" cy="1082753"/>
      </dsp:txXfrm>
    </dsp:sp>
    <dsp:sp modelId="{B3C1D9A3-46B4-4E40-BD14-497C0DCDB4DC}">
      <dsp:nvSpPr>
        <dsp:cNvPr id="0" name=""/>
        <dsp:cNvSpPr/>
      </dsp:nvSpPr>
      <dsp:spPr>
        <a:xfrm rot="5400000">
          <a:off x="-276900" y="1935282"/>
          <a:ext cx="1846001" cy="1292201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2304483"/>
        <a:ext cx="1292201" cy="553800"/>
      </dsp:txXfrm>
    </dsp:sp>
    <dsp:sp modelId="{BA1055A7-1216-4086-83B6-4D1BE3CE8907}">
      <dsp:nvSpPr>
        <dsp:cNvPr id="0" name=""/>
        <dsp:cNvSpPr/>
      </dsp:nvSpPr>
      <dsp:spPr>
        <a:xfrm rot="5400000">
          <a:off x="5508521" y="-2557938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Сохранение и увеличение численности отдельных видов животных с учетом региональных особенностей Забайкальского края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Увеличение количества охотничьих хозяйств и доли закрепленных охотугодий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1716956"/>
        <a:ext cx="9573967" cy="1082753"/>
      </dsp:txXfrm>
    </dsp:sp>
    <dsp:sp modelId="{302FC55C-58A2-4FF3-96AC-10CFA0052481}">
      <dsp:nvSpPr>
        <dsp:cNvPr id="0" name=""/>
        <dsp:cNvSpPr/>
      </dsp:nvSpPr>
      <dsp:spPr>
        <a:xfrm rot="5400000">
          <a:off x="-276900" y="3589746"/>
          <a:ext cx="1846001" cy="1292201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3958947"/>
        <a:ext cx="1292201" cy="553800"/>
      </dsp:txXfrm>
    </dsp:sp>
    <dsp:sp modelId="{054E0B3D-A8D3-46C8-8CC8-57479A6700D3}">
      <dsp:nvSpPr>
        <dsp:cNvPr id="0" name=""/>
        <dsp:cNvSpPr/>
      </dsp:nvSpPr>
      <dsp:spPr>
        <a:xfrm rot="5400000">
          <a:off x="5508521" y="-9034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имулирование привлечения инвестиций в охотничье хозяйство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казание государственных услуг по выдаче разрешений на добычу охотничьих ресурсов и выдаче охотничьих билетов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3371420"/>
        <a:ext cx="9573967" cy="108275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196" y="391394"/>
          <a:ext cx="1846001" cy="1292201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22705" y="760595"/>
        <a:ext cx="1292201" cy="553800"/>
      </dsp:txXfrm>
    </dsp:sp>
    <dsp:sp modelId="{4BC5D174-82E1-455A-8266-2EF651317590}">
      <dsp:nvSpPr>
        <dsp:cNvPr id="0" name=""/>
        <dsp:cNvSpPr/>
      </dsp:nvSpPr>
      <dsp:spPr>
        <a:xfrm rot="5400000">
          <a:off x="5508521" y="-40627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недостаточное финансирование на реализацию полномочий, переданных Российской Федерацией: в 2021 году выделено за счет средств федерального бюджета  25,3 млн. руб., за счет краевого бюджета – 6,2 млн. руб. Потребность составляет 177,1 млн. руб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212120"/>
        <a:ext cx="9573967" cy="1082753"/>
      </dsp:txXfrm>
    </dsp:sp>
    <dsp:sp modelId="{B3C1D9A3-46B4-4E40-BD14-497C0DCDB4DC}">
      <dsp:nvSpPr>
        <dsp:cNvPr id="0" name=""/>
        <dsp:cNvSpPr/>
      </dsp:nvSpPr>
      <dsp:spPr>
        <a:xfrm rot="5400000">
          <a:off x="-276900" y="1935282"/>
          <a:ext cx="1846001" cy="1292201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2304483"/>
        <a:ext cx="1292201" cy="553800"/>
      </dsp:txXfrm>
    </dsp:sp>
    <dsp:sp modelId="{BA1055A7-1216-4086-83B6-4D1BE3CE8907}">
      <dsp:nvSpPr>
        <dsp:cNvPr id="0" name=""/>
        <dsp:cNvSpPr/>
      </dsp:nvSpPr>
      <dsp:spPr>
        <a:xfrm rot="5400000">
          <a:off x="5508521" y="-2557938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недостаточная штатная численность специалистов в районах края: имеется  45 человек, содержащихся  за счет федерального бюджета и 19 - за счет средств бюджета края. Потребность составляет  115 штатных единиц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1716956"/>
        <a:ext cx="9573967" cy="1082753"/>
      </dsp:txXfrm>
    </dsp:sp>
    <dsp:sp modelId="{302FC55C-58A2-4FF3-96AC-10CFA0052481}">
      <dsp:nvSpPr>
        <dsp:cNvPr id="0" name=""/>
        <dsp:cNvSpPr/>
      </dsp:nvSpPr>
      <dsp:spPr>
        <a:xfrm rot="5400000">
          <a:off x="-276900" y="3589746"/>
          <a:ext cx="1846001" cy="1292201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3958947"/>
        <a:ext cx="1292201" cy="553800"/>
      </dsp:txXfrm>
    </dsp:sp>
    <dsp:sp modelId="{054E0B3D-A8D3-46C8-8CC8-57479A6700D3}">
      <dsp:nvSpPr>
        <dsp:cNvPr id="0" name=""/>
        <dsp:cNvSpPr/>
      </dsp:nvSpPr>
      <dsp:spPr>
        <a:xfrm rot="5400000">
          <a:off x="5508521" y="-9034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+mn-lt"/>
            </a:rPr>
            <a:t>крайне низкое материально-техническое обеспечение: износ автотранспорта составляет 100%. Необходимо выделение 31 ед. автотранспорта . При этом потребность в финансировании  составляет 22,3 </a:t>
          </a:r>
          <a:r>
            <a:rPr lang="ru-RU" sz="1800" b="1" kern="1200" dirty="0" err="1" smtClean="0">
              <a:latin typeface="+mn-lt"/>
            </a:rPr>
            <a:t>млн.руб</a:t>
          </a:r>
          <a:r>
            <a:rPr lang="ru-RU" sz="1800" b="1" kern="1200" dirty="0" smtClean="0">
              <a:latin typeface="+mn-lt"/>
            </a:rPr>
            <a:t>. </a:t>
          </a: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3371420"/>
        <a:ext cx="9573967" cy="1082753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196" y="391394"/>
          <a:ext cx="1846001" cy="1292201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22705" y="760595"/>
        <a:ext cx="1292201" cy="553800"/>
      </dsp:txXfrm>
    </dsp:sp>
    <dsp:sp modelId="{4BC5D174-82E1-455A-8266-2EF651317590}">
      <dsp:nvSpPr>
        <dsp:cNvPr id="0" name=""/>
        <dsp:cNvSpPr/>
      </dsp:nvSpPr>
      <dsp:spPr>
        <a:xfrm rot="5400000">
          <a:off x="5508521" y="-40627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Повышение эффективности государственного охотничьего надзора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212120"/>
        <a:ext cx="9573967" cy="1082753"/>
      </dsp:txXfrm>
    </dsp:sp>
    <dsp:sp modelId="{B3C1D9A3-46B4-4E40-BD14-497C0DCDB4DC}">
      <dsp:nvSpPr>
        <dsp:cNvPr id="0" name=""/>
        <dsp:cNvSpPr/>
      </dsp:nvSpPr>
      <dsp:spPr>
        <a:xfrm rot="5400000">
          <a:off x="-276900" y="1935282"/>
          <a:ext cx="1846001" cy="1292201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2304483"/>
        <a:ext cx="1292201" cy="553800"/>
      </dsp:txXfrm>
    </dsp:sp>
    <dsp:sp modelId="{BA1055A7-1216-4086-83B6-4D1BE3CE8907}">
      <dsp:nvSpPr>
        <dsp:cNvPr id="0" name=""/>
        <dsp:cNvSpPr/>
      </dsp:nvSpPr>
      <dsp:spPr>
        <a:xfrm rot="5400000">
          <a:off x="5508521" y="-2557938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Увеличение доли площади закрепленных  охотугодий к общей площади охотугодий путем проведения аукционов на право заключения охотхозяйственных соглашений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latin typeface="Arial" panose="020B0604020202020204" pitchFamily="34" charset="0"/>
              <a:cs typeface="Arial" panose="020B0604020202020204" pitchFamily="34" charset="0"/>
            </a:rPr>
            <a:t>Организация и проведение работ по учету численности охотничьих ресурсов и утверждению квоты на добычу охотничьих ресурсов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1716956"/>
        <a:ext cx="9573967" cy="1082753"/>
      </dsp:txXfrm>
    </dsp:sp>
    <dsp:sp modelId="{302FC55C-58A2-4FF3-96AC-10CFA0052481}">
      <dsp:nvSpPr>
        <dsp:cNvPr id="0" name=""/>
        <dsp:cNvSpPr/>
      </dsp:nvSpPr>
      <dsp:spPr>
        <a:xfrm rot="5400000">
          <a:off x="-276900" y="3589746"/>
          <a:ext cx="1846001" cy="1292201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/>
        </a:p>
      </dsp:txBody>
      <dsp:txXfrm rot="-5400000">
        <a:off x="1" y="3958947"/>
        <a:ext cx="1292201" cy="553800"/>
      </dsp:txXfrm>
    </dsp:sp>
    <dsp:sp modelId="{054E0B3D-A8D3-46C8-8CC8-57479A6700D3}">
      <dsp:nvSpPr>
        <dsp:cNvPr id="0" name=""/>
        <dsp:cNvSpPr/>
      </dsp:nvSpPr>
      <dsp:spPr>
        <a:xfrm rot="5400000">
          <a:off x="5508521" y="-903474"/>
          <a:ext cx="1199901" cy="963254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Цифровизации массовых социально значимых услуг по выдаче охотничьих билетов и разрешений на добычу объектов животного мира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инятие проекта Закона Забайкальского края о порядке распределения разрешений на добычу охотничьих ресурсов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Увеличение размера вознаграждения за добытого волка до 15 тыс. рублей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2201" y="3371420"/>
        <a:ext cx="9573967" cy="10827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D333BC-437B-41A2-B36A-6B1161636F40}">
      <dsp:nvSpPr>
        <dsp:cNvPr id="0" name=""/>
        <dsp:cNvSpPr/>
      </dsp:nvSpPr>
      <dsp:spPr>
        <a:xfrm rot="5400000">
          <a:off x="-289718" y="292805"/>
          <a:ext cx="1931458" cy="1352020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</a:t>
          </a:r>
          <a:endParaRPr lang="ru-RU" sz="3800" kern="1200" dirty="0"/>
        </a:p>
      </dsp:txBody>
      <dsp:txXfrm rot="-5400000">
        <a:off x="1" y="679096"/>
        <a:ext cx="1352020" cy="579438"/>
      </dsp:txXfrm>
    </dsp:sp>
    <dsp:sp modelId="{721AEB15-ABB4-4F25-8D94-F860B8A7B674}">
      <dsp:nvSpPr>
        <dsp:cNvPr id="0" name=""/>
        <dsp:cNvSpPr/>
      </dsp:nvSpPr>
      <dsp:spPr>
        <a:xfrm rot="5400000">
          <a:off x="5510657" y="-4155550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эффективного сохранения лесов, в том числе на всех участках вырубленных и погибших лесных насаждений, а также рационального многоцелевого и </a:t>
          </a:r>
          <a:r>
            <a:rPr lang="ru-RU" sz="1400" kern="1200" dirty="0" err="1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неистощительного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использования лесов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беспечение эффективного управления лесами и устойчивого развития лесного сектора экономики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осуществление мер пожарной безопасности и тушения лесных пожаров в лесах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повышение эффективности контроля за использованием лесов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352020" y="64373"/>
        <a:ext cx="9511436" cy="1132875"/>
      </dsp:txXfrm>
    </dsp:sp>
    <dsp:sp modelId="{A1B0A6F7-1A19-4901-AB9A-DF2B5D272632}">
      <dsp:nvSpPr>
        <dsp:cNvPr id="0" name=""/>
        <dsp:cNvSpPr/>
      </dsp:nvSpPr>
      <dsp:spPr>
        <a:xfrm rot="5400000">
          <a:off x="-289718" y="2033323"/>
          <a:ext cx="1931458" cy="1352020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I</a:t>
          </a:r>
          <a:endParaRPr lang="ru-RU" sz="3800" kern="1200" dirty="0"/>
        </a:p>
      </dsp:txBody>
      <dsp:txXfrm rot="-5400000">
        <a:off x="1" y="2419614"/>
        <a:ext cx="1352020" cy="579438"/>
      </dsp:txXfrm>
    </dsp:sp>
    <dsp:sp modelId="{C19B1D31-E938-4F83-94E4-9908CCE85DDE}">
      <dsp:nvSpPr>
        <dsp:cNvPr id="0" name=""/>
        <dsp:cNvSpPr/>
      </dsp:nvSpPr>
      <dsp:spPr>
        <a:xfrm rot="5400000">
          <a:off x="5510657" y="-2415032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существление мер по предотвращению негативного воздействия вод, охране водных объектов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безопасности гидротехнических сооружений;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;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воспроизводства минерально-сырьевой базы, ее рационального использования и охраны недр на территории Забайкальского края</a:t>
          </a:r>
          <a:endParaRPr lang="ru-RU" sz="1400" kern="1200" dirty="0">
            <a:solidFill>
              <a:prstClr val="black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352020" y="1804891"/>
        <a:ext cx="9511436" cy="1132875"/>
      </dsp:txXfrm>
    </dsp:sp>
    <dsp:sp modelId="{57E37E7D-5140-4D11-A0B4-8902CBC35DFB}">
      <dsp:nvSpPr>
        <dsp:cNvPr id="0" name=""/>
        <dsp:cNvSpPr/>
      </dsp:nvSpPr>
      <dsp:spPr>
        <a:xfrm rot="5400000">
          <a:off x="-289718" y="3773840"/>
          <a:ext cx="1931458" cy="1352020"/>
        </a:xfrm>
        <a:prstGeom prst="chevron">
          <a:avLst/>
        </a:prstGeom>
        <a:solidFill>
          <a:srgbClr val="4472C4"/>
        </a:solidFill>
        <a:ln w="285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II</a:t>
          </a:r>
          <a:endParaRPr lang="ru-RU" sz="3800" kern="1200" dirty="0"/>
        </a:p>
      </dsp:txBody>
      <dsp:txXfrm rot="-5400000">
        <a:off x="1" y="4160131"/>
        <a:ext cx="1352020" cy="579438"/>
      </dsp:txXfrm>
    </dsp:sp>
    <dsp:sp modelId="{53F515F5-91AB-476E-A140-4ADD2EB165D8}">
      <dsp:nvSpPr>
        <dsp:cNvPr id="0" name=""/>
        <dsp:cNvSpPr/>
      </dsp:nvSpPr>
      <dsp:spPr>
        <a:xfrm rot="5400000">
          <a:off x="5510657" y="-674514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0" lvl="1" indent="0" algn="just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200" kern="1200" dirty="0" smtClean="0">
              <a:ea typeface="Calibri"/>
              <a:cs typeface="Arial" panose="020B0604020202020204" pitchFamily="34" charset="0"/>
            </a:rPr>
            <a:t> </a:t>
          </a: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совершенствование государственного управления системой особо охраняемых природных территорий     регионального значения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предупреждение и минимизация негативного воздействия на окружающую среду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kern="12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rPr>
            <a:t> создание условий для эффективного и устойчивого развития охотничьего хозяйства Забайкальского края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352020" y="3545409"/>
        <a:ext cx="9511436" cy="11328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11668A-E5AB-48BF-9FE7-FD451109A566}">
      <dsp:nvSpPr>
        <dsp:cNvPr id="0" name=""/>
        <dsp:cNvSpPr/>
      </dsp:nvSpPr>
      <dsp:spPr>
        <a:xfrm>
          <a:off x="13543" y="185946"/>
          <a:ext cx="1690785" cy="845392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rgbClr val="AD010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РАЗВИТИЕ ЛЕСНОГО ХОЗЯЙСТВА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38304" y="210707"/>
        <a:ext cx="1641263" cy="795870"/>
      </dsp:txXfrm>
    </dsp:sp>
    <dsp:sp modelId="{5AC4BD53-58ED-4439-8998-7D5CCB16A7FB}">
      <dsp:nvSpPr>
        <dsp:cNvPr id="0" name=""/>
        <dsp:cNvSpPr/>
      </dsp:nvSpPr>
      <dsp:spPr>
        <a:xfrm>
          <a:off x="182621" y="1031338"/>
          <a:ext cx="157006" cy="6098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9891"/>
              </a:lnTo>
              <a:lnTo>
                <a:pt x="157006" y="60989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1F97FB-A905-4859-8B1F-7ED637066D69}">
      <dsp:nvSpPr>
        <dsp:cNvPr id="0" name=""/>
        <dsp:cNvSpPr/>
      </dsp:nvSpPr>
      <dsp:spPr>
        <a:xfrm>
          <a:off x="339628" y="1218534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Федеральный бюджет</a:t>
          </a:r>
          <a:r>
            <a:rPr lang="ru-RU" sz="1300" kern="1200" dirty="0" smtClean="0"/>
            <a:t> –        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 </a:t>
          </a:r>
          <a:r>
            <a:rPr lang="ru-RU" sz="1800" b="1" kern="1200" dirty="0" smtClean="0"/>
            <a:t>1 414 млн. руб.</a:t>
          </a:r>
          <a:endParaRPr lang="ru-RU" sz="1800" b="1" kern="1200" dirty="0"/>
        </a:p>
      </dsp:txBody>
      <dsp:txXfrm>
        <a:off x="364389" y="1243295"/>
        <a:ext cx="1303106" cy="795870"/>
      </dsp:txXfrm>
    </dsp:sp>
    <dsp:sp modelId="{AB6D961A-A6F8-4B99-BC0C-BC57AECFF909}">
      <dsp:nvSpPr>
        <dsp:cNvPr id="0" name=""/>
        <dsp:cNvSpPr/>
      </dsp:nvSpPr>
      <dsp:spPr>
        <a:xfrm>
          <a:off x="182621" y="1031338"/>
          <a:ext cx="157006" cy="16666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66632"/>
              </a:lnTo>
              <a:lnTo>
                <a:pt x="157006" y="166663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3E93AE-5035-4728-89FF-2889F906BEA1}">
      <dsp:nvSpPr>
        <dsp:cNvPr id="0" name=""/>
        <dsp:cNvSpPr/>
      </dsp:nvSpPr>
      <dsp:spPr>
        <a:xfrm>
          <a:off x="339628" y="2275274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Краевой бюджет </a:t>
          </a:r>
          <a:r>
            <a:rPr lang="ru-RU" sz="1300" kern="1200" dirty="0" smtClean="0"/>
            <a:t>–            </a:t>
          </a:r>
          <a:r>
            <a:rPr lang="ru-RU" sz="1800" b="1" kern="1200" dirty="0" smtClean="0"/>
            <a:t>407 млн. руб.</a:t>
          </a:r>
          <a:endParaRPr lang="ru-RU" sz="1800" b="1" kern="1200" dirty="0"/>
        </a:p>
      </dsp:txBody>
      <dsp:txXfrm>
        <a:off x="364389" y="2300035"/>
        <a:ext cx="1303106" cy="795870"/>
      </dsp:txXfrm>
    </dsp:sp>
    <dsp:sp modelId="{01519B02-2094-480F-BBC4-031EA26D1DF6}">
      <dsp:nvSpPr>
        <dsp:cNvPr id="0" name=""/>
        <dsp:cNvSpPr/>
      </dsp:nvSpPr>
      <dsp:spPr>
        <a:xfrm>
          <a:off x="2179743" y="148833"/>
          <a:ext cx="1690785" cy="845392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rgbClr val="AD010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ОХРАНА ОКРУЖАЮЩЕЙ СРЕДЫ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2204504" y="173594"/>
        <a:ext cx="1641263" cy="795870"/>
      </dsp:txXfrm>
    </dsp:sp>
    <dsp:sp modelId="{6EB65128-505B-4867-A7C2-82F7802E5A3C}">
      <dsp:nvSpPr>
        <dsp:cNvPr id="0" name=""/>
        <dsp:cNvSpPr/>
      </dsp:nvSpPr>
      <dsp:spPr>
        <a:xfrm>
          <a:off x="2303101" y="994226"/>
          <a:ext cx="91440" cy="68587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85875"/>
              </a:lnTo>
              <a:lnTo>
                <a:pt x="137049" y="68587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ACFDD8-D1D9-47E2-A17A-EB4E044D2509}">
      <dsp:nvSpPr>
        <dsp:cNvPr id="0" name=""/>
        <dsp:cNvSpPr/>
      </dsp:nvSpPr>
      <dsp:spPr>
        <a:xfrm>
          <a:off x="2440151" y="1257405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Федеральный бюджет </a:t>
          </a:r>
          <a:r>
            <a:rPr lang="ru-RU" sz="1300" kern="1200" dirty="0" smtClean="0"/>
            <a:t>–       </a:t>
          </a:r>
          <a:r>
            <a:rPr lang="ru-RU" sz="1800" b="1" kern="1200" dirty="0" smtClean="0"/>
            <a:t>237 млн. руб.</a:t>
          </a:r>
          <a:endParaRPr lang="ru-RU" sz="1800" b="1" kern="1200" dirty="0"/>
        </a:p>
      </dsp:txBody>
      <dsp:txXfrm>
        <a:off x="2464912" y="1282166"/>
        <a:ext cx="1303106" cy="795870"/>
      </dsp:txXfrm>
    </dsp:sp>
    <dsp:sp modelId="{DB5B3AC9-7A87-40F3-9CFD-DF7CEAD53F4D}">
      <dsp:nvSpPr>
        <dsp:cNvPr id="0" name=""/>
        <dsp:cNvSpPr/>
      </dsp:nvSpPr>
      <dsp:spPr>
        <a:xfrm>
          <a:off x="2348821" y="994226"/>
          <a:ext cx="104287" cy="17037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03744"/>
              </a:lnTo>
              <a:lnTo>
                <a:pt x="104287" y="17037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80FF3D-4AA5-4B56-B03C-96B3C814069A}">
      <dsp:nvSpPr>
        <dsp:cNvPr id="0" name=""/>
        <dsp:cNvSpPr/>
      </dsp:nvSpPr>
      <dsp:spPr>
        <a:xfrm>
          <a:off x="2453109" y="2275274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Краевой бюджет </a:t>
          </a:r>
          <a:r>
            <a:rPr lang="ru-RU" sz="1300" kern="1200" dirty="0" smtClean="0"/>
            <a:t>–            </a:t>
          </a:r>
          <a:r>
            <a:rPr lang="ru-RU" sz="1800" b="1" kern="1200" dirty="0" smtClean="0"/>
            <a:t>212 млн. руб.</a:t>
          </a:r>
          <a:endParaRPr lang="ru-RU" sz="1800" b="1" kern="1200" dirty="0"/>
        </a:p>
      </dsp:txBody>
      <dsp:txXfrm>
        <a:off x="2477870" y="2300035"/>
        <a:ext cx="1303106" cy="795870"/>
      </dsp:txXfrm>
    </dsp:sp>
    <dsp:sp modelId="{D708B879-B24B-458A-94AB-C74732841AE2}">
      <dsp:nvSpPr>
        <dsp:cNvPr id="0" name=""/>
        <dsp:cNvSpPr/>
      </dsp:nvSpPr>
      <dsp:spPr>
        <a:xfrm>
          <a:off x="4228433" y="161793"/>
          <a:ext cx="1690785" cy="845392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rgbClr val="AD010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ВОСПРОИЗВОДСТВО И ИСПОЛЬЗОВАНИЕ ПРИРОДНЫХ РЕСУРСОВ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/>
        </a:p>
      </dsp:txBody>
      <dsp:txXfrm>
        <a:off x="4253194" y="186554"/>
        <a:ext cx="1641263" cy="795870"/>
      </dsp:txXfrm>
    </dsp:sp>
    <dsp:sp modelId="{EB71EF8C-38B8-435B-A52A-9B05BF978763}">
      <dsp:nvSpPr>
        <dsp:cNvPr id="0" name=""/>
        <dsp:cNvSpPr/>
      </dsp:nvSpPr>
      <dsp:spPr>
        <a:xfrm>
          <a:off x="4397512" y="1007186"/>
          <a:ext cx="169078" cy="6340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4044"/>
              </a:lnTo>
              <a:lnTo>
                <a:pt x="169078" y="63404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C289A7-6015-48F8-B9B2-F2AEABC30CF4}">
      <dsp:nvSpPr>
        <dsp:cNvPr id="0" name=""/>
        <dsp:cNvSpPr/>
      </dsp:nvSpPr>
      <dsp:spPr>
        <a:xfrm>
          <a:off x="4566590" y="1218534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Федеральный бюджет </a:t>
          </a:r>
          <a:r>
            <a:rPr lang="ru-RU" sz="1300" kern="1200" dirty="0" smtClean="0"/>
            <a:t>–       </a:t>
          </a:r>
          <a:r>
            <a:rPr lang="ru-RU" sz="1800" b="1" kern="1200" dirty="0" smtClean="0"/>
            <a:t>469 млн. руб.</a:t>
          </a:r>
          <a:endParaRPr lang="ru-RU" sz="1800" kern="1200" dirty="0"/>
        </a:p>
      </dsp:txBody>
      <dsp:txXfrm>
        <a:off x="4591351" y="1243295"/>
        <a:ext cx="1303106" cy="795870"/>
      </dsp:txXfrm>
    </dsp:sp>
    <dsp:sp modelId="{0C82A2CB-1E42-4DB3-9B7E-2ABF3C678F3A}">
      <dsp:nvSpPr>
        <dsp:cNvPr id="0" name=""/>
        <dsp:cNvSpPr/>
      </dsp:nvSpPr>
      <dsp:spPr>
        <a:xfrm>
          <a:off x="4397512" y="1007186"/>
          <a:ext cx="169078" cy="16907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0785"/>
              </a:lnTo>
              <a:lnTo>
                <a:pt x="169078" y="16907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D902E8-1A2D-43DE-80AB-133823710927}">
      <dsp:nvSpPr>
        <dsp:cNvPr id="0" name=""/>
        <dsp:cNvSpPr/>
      </dsp:nvSpPr>
      <dsp:spPr>
        <a:xfrm>
          <a:off x="4566590" y="2275274"/>
          <a:ext cx="1352628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Краевой бюджет </a:t>
          </a:r>
          <a:r>
            <a:rPr lang="ru-RU" sz="1300" kern="1200" dirty="0" smtClean="0"/>
            <a:t>–            </a:t>
          </a:r>
          <a:r>
            <a:rPr lang="ru-RU" sz="1800" b="1" kern="1200" dirty="0" smtClean="0"/>
            <a:t>32 млн. руб.</a:t>
          </a:r>
          <a:endParaRPr lang="ru-RU" sz="1800" b="1" kern="1200" dirty="0"/>
        </a:p>
      </dsp:txBody>
      <dsp:txXfrm>
        <a:off x="4591351" y="2300035"/>
        <a:ext cx="1303106" cy="795870"/>
      </dsp:txXfrm>
    </dsp:sp>
    <dsp:sp modelId="{9ACA38D8-9810-46FA-AC86-9E24319F235D}">
      <dsp:nvSpPr>
        <dsp:cNvPr id="0" name=""/>
        <dsp:cNvSpPr/>
      </dsp:nvSpPr>
      <dsp:spPr>
        <a:xfrm>
          <a:off x="6343385" y="185946"/>
          <a:ext cx="1690785" cy="845392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rgbClr val="AD010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СОВЕРШЕНСТВОВАНИЕ ГОСУДАРСТВЕННОГО УПРАВЛЕНИЯ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ЗАБАЙКАЛЬСКОГО КРАЯ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/>
        </a:p>
      </dsp:txBody>
      <dsp:txXfrm>
        <a:off x="6368146" y="210707"/>
        <a:ext cx="1641263" cy="795870"/>
      </dsp:txXfrm>
    </dsp:sp>
    <dsp:sp modelId="{4F55ADD8-5412-4AA5-B448-8AF6C195410F}">
      <dsp:nvSpPr>
        <dsp:cNvPr id="0" name=""/>
        <dsp:cNvSpPr/>
      </dsp:nvSpPr>
      <dsp:spPr>
        <a:xfrm>
          <a:off x="6512464" y="1031338"/>
          <a:ext cx="116680" cy="628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8202"/>
              </a:lnTo>
              <a:lnTo>
                <a:pt x="116680" y="6282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A83EB1-2BB8-4E65-AF86-ED46F3CABC4C}">
      <dsp:nvSpPr>
        <dsp:cNvPr id="0" name=""/>
        <dsp:cNvSpPr/>
      </dsp:nvSpPr>
      <dsp:spPr>
        <a:xfrm>
          <a:off x="6629145" y="1236845"/>
          <a:ext cx="1343700" cy="8453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Краевой бюджет </a:t>
          </a:r>
          <a:r>
            <a:rPr lang="ru-RU" sz="1400" kern="1200" dirty="0" smtClean="0"/>
            <a:t>–            </a:t>
          </a:r>
          <a:r>
            <a:rPr lang="ru-RU" sz="1800" b="1" kern="1200" dirty="0" smtClean="0"/>
            <a:t>0,5 млн. руб.</a:t>
          </a:r>
          <a:endParaRPr lang="ru-RU" sz="1800" b="1" kern="1200" dirty="0"/>
        </a:p>
      </dsp:txBody>
      <dsp:txXfrm>
        <a:off x="6653906" y="1261606"/>
        <a:ext cx="1294178" cy="7958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2B058F-8E2C-4FA7-8D3E-7195051725BB}">
      <dsp:nvSpPr>
        <dsp:cNvPr id="0" name=""/>
        <dsp:cNvSpPr/>
      </dsp:nvSpPr>
      <dsp:spPr>
        <a:xfrm>
          <a:off x="0" y="0"/>
          <a:ext cx="475621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FB2E54-D671-4B3E-8037-F8E67A24A3DD}">
      <dsp:nvSpPr>
        <dsp:cNvPr id="0" name=""/>
        <dsp:cNvSpPr/>
      </dsp:nvSpPr>
      <dsp:spPr>
        <a:xfrm>
          <a:off x="0" y="0"/>
          <a:ext cx="1890920" cy="5000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Источники финансирования федерального бюджета</a:t>
          </a:r>
          <a:endParaRPr lang="ru-RU" sz="1600" b="1" kern="1200" dirty="0"/>
        </a:p>
      </dsp:txBody>
      <dsp:txXfrm>
        <a:off x="0" y="0"/>
        <a:ext cx="1890920" cy="5000213"/>
      </dsp:txXfrm>
    </dsp:sp>
    <dsp:sp modelId="{61A59247-7C2A-479B-8AC5-7FB3FB2C7B8A}">
      <dsp:nvSpPr>
        <dsp:cNvPr id="0" name=""/>
        <dsp:cNvSpPr/>
      </dsp:nvSpPr>
      <dsp:spPr>
        <a:xfrm>
          <a:off x="1944636" y="47121"/>
          <a:ext cx="2811162" cy="9424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+mn-lt"/>
              <a:cs typeface="Arial" panose="020B0604020202020204" pitchFamily="34" charset="0"/>
            </a:rPr>
            <a:t>Субвенция на исполнение переданных Российской Федерацией полномочий в области лесных отношений </a:t>
          </a:r>
          <a:endParaRPr lang="ru-RU" sz="1200" kern="1200" dirty="0">
            <a:latin typeface="+mn-lt"/>
            <a:cs typeface="Arial" panose="020B0604020202020204" pitchFamily="34" charset="0"/>
          </a:endParaRPr>
        </a:p>
      </dsp:txBody>
      <dsp:txXfrm>
        <a:off x="1944636" y="47121"/>
        <a:ext cx="2811162" cy="942422"/>
      </dsp:txXfrm>
    </dsp:sp>
    <dsp:sp modelId="{271BB105-61DF-43DB-91FD-14D9064D7FC4}">
      <dsp:nvSpPr>
        <dsp:cNvPr id="0" name=""/>
        <dsp:cNvSpPr/>
      </dsp:nvSpPr>
      <dsp:spPr>
        <a:xfrm>
          <a:off x="1869376" y="949582"/>
          <a:ext cx="286487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BE730A-45A3-45BF-82C2-317C8F322FB7}">
      <dsp:nvSpPr>
        <dsp:cNvPr id="0" name=""/>
        <dsp:cNvSpPr/>
      </dsp:nvSpPr>
      <dsp:spPr>
        <a:xfrm>
          <a:off x="1944636" y="1036665"/>
          <a:ext cx="2811162" cy="9424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убвенция на исполнение переданных Российской Федерацией полномочий в области организации, регулирования и охраны водных биологических ресурсов</a:t>
          </a:r>
          <a:endParaRPr lang="ru-RU" sz="1200" kern="1200" dirty="0"/>
        </a:p>
      </dsp:txBody>
      <dsp:txXfrm>
        <a:off x="1944636" y="1036665"/>
        <a:ext cx="2811162" cy="942422"/>
      </dsp:txXfrm>
    </dsp:sp>
    <dsp:sp modelId="{F934E70A-B4E0-4FB4-ADD7-2DD238BEE65A}">
      <dsp:nvSpPr>
        <dsp:cNvPr id="0" name=""/>
        <dsp:cNvSpPr/>
      </dsp:nvSpPr>
      <dsp:spPr>
        <a:xfrm>
          <a:off x="1890920" y="1979088"/>
          <a:ext cx="286487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07B301-1882-4606-A2BF-45E9914A46B4}">
      <dsp:nvSpPr>
        <dsp:cNvPr id="0" name=""/>
        <dsp:cNvSpPr/>
      </dsp:nvSpPr>
      <dsp:spPr>
        <a:xfrm>
          <a:off x="1944636" y="2026209"/>
          <a:ext cx="2811162" cy="9424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убвенция на исполнение переданных Российской Федерацией полномочий в области водных отношений </a:t>
          </a:r>
          <a:endParaRPr lang="ru-RU" sz="1200" kern="1200" dirty="0"/>
        </a:p>
      </dsp:txBody>
      <dsp:txXfrm>
        <a:off x="1944636" y="2026209"/>
        <a:ext cx="2811162" cy="942422"/>
      </dsp:txXfrm>
    </dsp:sp>
    <dsp:sp modelId="{5E0C836C-66DB-4E89-A712-E76DF76B92B7}">
      <dsp:nvSpPr>
        <dsp:cNvPr id="0" name=""/>
        <dsp:cNvSpPr/>
      </dsp:nvSpPr>
      <dsp:spPr>
        <a:xfrm>
          <a:off x="1890920" y="2968632"/>
          <a:ext cx="286487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E72E0D-BC77-4659-A67B-11CD6A069E41}">
      <dsp:nvSpPr>
        <dsp:cNvPr id="0" name=""/>
        <dsp:cNvSpPr/>
      </dsp:nvSpPr>
      <dsp:spPr>
        <a:xfrm>
          <a:off x="1944636" y="3015753"/>
          <a:ext cx="2811162" cy="9424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Единая субвенция на осуществление полномочий Российской Федерацией в области охраны и использования объектов животного мира</a:t>
          </a:r>
          <a:endParaRPr lang="ru-RU" sz="1200" kern="1200" dirty="0"/>
        </a:p>
      </dsp:txBody>
      <dsp:txXfrm>
        <a:off x="1944636" y="3015753"/>
        <a:ext cx="2811162" cy="942422"/>
      </dsp:txXfrm>
    </dsp:sp>
    <dsp:sp modelId="{974B8D3F-5EBC-4554-B9E9-06445A2CE5CD}">
      <dsp:nvSpPr>
        <dsp:cNvPr id="0" name=""/>
        <dsp:cNvSpPr/>
      </dsp:nvSpPr>
      <dsp:spPr>
        <a:xfrm>
          <a:off x="1890920" y="3958176"/>
          <a:ext cx="286487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12E00C-FDA1-4D36-B2FE-AC17E9AEBB33}">
      <dsp:nvSpPr>
        <dsp:cNvPr id="0" name=""/>
        <dsp:cNvSpPr/>
      </dsp:nvSpPr>
      <dsp:spPr>
        <a:xfrm>
          <a:off x="1944636" y="4005297"/>
          <a:ext cx="2811162" cy="9424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Единая субвенция на осуществление полномочий Российской Федерацией в области охраны и использования охотничьих ресурсов</a:t>
          </a:r>
          <a:endParaRPr lang="ru-RU" sz="1200" kern="1200" dirty="0"/>
        </a:p>
      </dsp:txBody>
      <dsp:txXfrm>
        <a:off x="1944636" y="4005297"/>
        <a:ext cx="2811162" cy="942422"/>
      </dsp:txXfrm>
    </dsp:sp>
    <dsp:sp modelId="{135BFF7F-FFCB-4B51-AE5C-65FBD5A4FFC5}">
      <dsp:nvSpPr>
        <dsp:cNvPr id="0" name=""/>
        <dsp:cNvSpPr/>
      </dsp:nvSpPr>
      <dsp:spPr>
        <a:xfrm>
          <a:off x="1890920" y="4947720"/>
          <a:ext cx="286487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9DE97A-4076-454A-B349-BAF716926771}">
      <dsp:nvSpPr>
        <dsp:cNvPr id="0" name=""/>
        <dsp:cNvSpPr/>
      </dsp:nvSpPr>
      <dsp:spPr>
        <a:xfrm>
          <a:off x="23463" y="676598"/>
          <a:ext cx="1876669" cy="938334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«Сохранение лесов»</a:t>
          </a:r>
          <a:endParaRPr lang="ru-RU" sz="1800" kern="1200" dirty="0">
            <a:solidFill>
              <a:schemeClr val="tx1"/>
            </a:solidFill>
          </a:endParaRPr>
        </a:p>
      </dsp:txBody>
      <dsp:txXfrm>
        <a:off x="50946" y="704081"/>
        <a:ext cx="1821703" cy="883368"/>
      </dsp:txXfrm>
    </dsp:sp>
    <dsp:sp modelId="{C15319B2-D3F1-4163-AD5B-3EDCDBA7268D}">
      <dsp:nvSpPr>
        <dsp:cNvPr id="0" name=""/>
        <dsp:cNvSpPr/>
      </dsp:nvSpPr>
      <dsp:spPr>
        <a:xfrm>
          <a:off x="211130" y="1614933"/>
          <a:ext cx="169707" cy="6855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5566"/>
              </a:lnTo>
              <a:lnTo>
                <a:pt x="169707" y="68556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73C08E-0461-4063-85F7-17CBFE7F93D8}">
      <dsp:nvSpPr>
        <dsp:cNvPr id="0" name=""/>
        <dsp:cNvSpPr/>
      </dsp:nvSpPr>
      <dsp:spPr>
        <a:xfrm>
          <a:off x="380837" y="1831332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ыделено –    </a:t>
          </a:r>
          <a:r>
            <a:rPr lang="ru-RU" sz="1800" b="1" kern="1200" dirty="0" smtClean="0"/>
            <a:t>334 млн. руб.</a:t>
          </a:r>
          <a:endParaRPr lang="ru-RU" sz="1800" b="1" kern="1200" dirty="0"/>
        </a:p>
      </dsp:txBody>
      <dsp:txXfrm>
        <a:off x="408320" y="1858815"/>
        <a:ext cx="1446369" cy="883368"/>
      </dsp:txXfrm>
    </dsp:sp>
    <dsp:sp modelId="{81D05C1D-8316-472D-B84D-5B43BB52DC00}">
      <dsp:nvSpPr>
        <dsp:cNvPr id="0" name=""/>
        <dsp:cNvSpPr/>
      </dsp:nvSpPr>
      <dsp:spPr>
        <a:xfrm>
          <a:off x="211130" y="1614933"/>
          <a:ext cx="169707" cy="18495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49504"/>
              </a:lnTo>
              <a:lnTo>
                <a:pt x="169707" y="184950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D60484-DE0D-49CD-9399-C4AE8EF8509E}">
      <dsp:nvSpPr>
        <dsp:cNvPr id="0" name=""/>
        <dsp:cNvSpPr/>
      </dsp:nvSpPr>
      <dsp:spPr>
        <a:xfrm>
          <a:off x="380837" y="2995271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Исполнено –  </a:t>
          </a:r>
          <a:r>
            <a:rPr lang="ru-RU" sz="1800" b="1" kern="1200" dirty="0" smtClean="0"/>
            <a:t>334 млн. руб.</a:t>
          </a:r>
          <a:endParaRPr lang="ru-RU" sz="1800" b="1" kern="1200" dirty="0"/>
        </a:p>
      </dsp:txBody>
      <dsp:txXfrm>
        <a:off x="408320" y="3022754"/>
        <a:ext cx="1446369" cy="883368"/>
      </dsp:txXfrm>
    </dsp:sp>
    <dsp:sp modelId="{E9883081-54D6-4C4E-ABC0-27F702F59016}">
      <dsp:nvSpPr>
        <dsp:cNvPr id="0" name=""/>
        <dsp:cNvSpPr/>
      </dsp:nvSpPr>
      <dsp:spPr>
        <a:xfrm>
          <a:off x="211130" y="1614933"/>
          <a:ext cx="169707" cy="30314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1403"/>
              </a:lnTo>
              <a:lnTo>
                <a:pt x="169707" y="303140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DDC0D9-43CF-48DB-88E3-123D829A30A0}">
      <dsp:nvSpPr>
        <dsp:cNvPr id="0" name=""/>
        <dsp:cNvSpPr/>
      </dsp:nvSpPr>
      <dsp:spPr>
        <a:xfrm>
          <a:off x="380837" y="4177169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роцент освоения - </a:t>
          </a:r>
          <a:r>
            <a:rPr lang="ru-RU" sz="1800" b="1" kern="1200" dirty="0" smtClean="0"/>
            <a:t>100</a:t>
          </a:r>
          <a:endParaRPr lang="ru-RU" sz="1800" b="1" kern="1200" dirty="0"/>
        </a:p>
      </dsp:txBody>
      <dsp:txXfrm>
        <a:off x="408320" y="4204652"/>
        <a:ext cx="1446369" cy="883368"/>
      </dsp:txXfrm>
    </dsp:sp>
    <dsp:sp modelId="{9BD4DA0F-AE50-42E9-A05F-A29D70E5E02A}">
      <dsp:nvSpPr>
        <dsp:cNvPr id="0" name=""/>
        <dsp:cNvSpPr/>
      </dsp:nvSpPr>
      <dsp:spPr>
        <a:xfrm>
          <a:off x="2351340" y="658413"/>
          <a:ext cx="1876669" cy="938334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«Чистая страна»</a:t>
          </a:r>
          <a:endParaRPr lang="ru-RU" sz="1800" kern="1200" dirty="0">
            <a:solidFill>
              <a:schemeClr val="tx1"/>
            </a:solidFill>
          </a:endParaRPr>
        </a:p>
      </dsp:txBody>
      <dsp:txXfrm>
        <a:off x="2378823" y="685896"/>
        <a:ext cx="1821703" cy="883368"/>
      </dsp:txXfrm>
    </dsp:sp>
    <dsp:sp modelId="{A1758D23-3EBE-4C86-A2F4-8858670585C9}">
      <dsp:nvSpPr>
        <dsp:cNvPr id="0" name=""/>
        <dsp:cNvSpPr/>
      </dsp:nvSpPr>
      <dsp:spPr>
        <a:xfrm>
          <a:off x="2539007" y="1596748"/>
          <a:ext cx="187666" cy="703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751"/>
              </a:lnTo>
              <a:lnTo>
                <a:pt x="187666" y="7037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0A9F26-041C-43E4-9E2A-0AEEA67CEBCC}">
      <dsp:nvSpPr>
        <dsp:cNvPr id="0" name=""/>
        <dsp:cNvSpPr/>
      </dsp:nvSpPr>
      <dsp:spPr>
        <a:xfrm>
          <a:off x="2726674" y="1831332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ыделено –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20,5 млн. руб.</a:t>
          </a:r>
          <a:endParaRPr lang="ru-RU" sz="1800" b="1" kern="1200" dirty="0"/>
        </a:p>
      </dsp:txBody>
      <dsp:txXfrm>
        <a:off x="2754157" y="1858815"/>
        <a:ext cx="1446369" cy="883368"/>
      </dsp:txXfrm>
    </dsp:sp>
    <dsp:sp modelId="{5265FA27-A534-45E1-A776-56D0E5F6FF57}">
      <dsp:nvSpPr>
        <dsp:cNvPr id="0" name=""/>
        <dsp:cNvSpPr/>
      </dsp:nvSpPr>
      <dsp:spPr>
        <a:xfrm>
          <a:off x="2539007" y="1596748"/>
          <a:ext cx="187666" cy="1876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6669"/>
              </a:lnTo>
              <a:lnTo>
                <a:pt x="187666" y="18766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5A7BC1-8E15-477D-B6F1-1760A7694355}">
      <dsp:nvSpPr>
        <dsp:cNvPr id="0" name=""/>
        <dsp:cNvSpPr/>
      </dsp:nvSpPr>
      <dsp:spPr>
        <a:xfrm>
          <a:off x="2726674" y="3004250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Исполнено – </a:t>
          </a:r>
          <a:r>
            <a:rPr lang="ru-RU" sz="1800" b="1" kern="1200" dirty="0" smtClean="0"/>
            <a:t>18,5 млн. руб.</a:t>
          </a:r>
          <a:endParaRPr lang="ru-RU" sz="1800" b="1" kern="1200" dirty="0"/>
        </a:p>
      </dsp:txBody>
      <dsp:txXfrm>
        <a:off x="2754157" y="3031733"/>
        <a:ext cx="1446369" cy="883368"/>
      </dsp:txXfrm>
    </dsp:sp>
    <dsp:sp modelId="{FFBF54A1-40A8-4608-90A2-8F85A117B2CF}">
      <dsp:nvSpPr>
        <dsp:cNvPr id="0" name=""/>
        <dsp:cNvSpPr/>
      </dsp:nvSpPr>
      <dsp:spPr>
        <a:xfrm>
          <a:off x="2539007" y="1596748"/>
          <a:ext cx="187666" cy="30495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9588"/>
              </a:lnTo>
              <a:lnTo>
                <a:pt x="187666" y="304958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1FF856-1127-42CC-A8F5-9FF18D9778E1}">
      <dsp:nvSpPr>
        <dsp:cNvPr id="0" name=""/>
        <dsp:cNvSpPr/>
      </dsp:nvSpPr>
      <dsp:spPr>
        <a:xfrm>
          <a:off x="2726674" y="4177169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роцент освоения – </a:t>
          </a:r>
          <a:r>
            <a:rPr lang="ru-RU" sz="1800" b="1" kern="1200" dirty="0" smtClean="0"/>
            <a:t>90,2</a:t>
          </a:r>
          <a:endParaRPr lang="ru-RU" sz="1800" b="1" kern="1200" dirty="0"/>
        </a:p>
      </dsp:txBody>
      <dsp:txXfrm>
        <a:off x="2754157" y="4204652"/>
        <a:ext cx="1446369" cy="883368"/>
      </dsp:txXfrm>
    </dsp:sp>
    <dsp:sp modelId="{72307DDA-19B4-4C23-AC4B-DB326241BF3E}">
      <dsp:nvSpPr>
        <dsp:cNvPr id="0" name=""/>
        <dsp:cNvSpPr/>
      </dsp:nvSpPr>
      <dsp:spPr>
        <a:xfrm>
          <a:off x="4733097" y="676598"/>
          <a:ext cx="1876669" cy="938334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«Чистый воздух»</a:t>
          </a:r>
          <a:endParaRPr lang="ru-RU" sz="1800" kern="1200" dirty="0">
            <a:solidFill>
              <a:schemeClr val="tx1"/>
            </a:solidFill>
          </a:endParaRPr>
        </a:p>
      </dsp:txBody>
      <dsp:txXfrm>
        <a:off x="4760580" y="704081"/>
        <a:ext cx="1821703" cy="883368"/>
      </dsp:txXfrm>
    </dsp:sp>
    <dsp:sp modelId="{7CDADDB7-4941-4553-9004-FD3C568B3153}">
      <dsp:nvSpPr>
        <dsp:cNvPr id="0" name=""/>
        <dsp:cNvSpPr/>
      </dsp:nvSpPr>
      <dsp:spPr>
        <a:xfrm>
          <a:off x="4920764" y="1614933"/>
          <a:ext cx="151747" cy="6855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5566"/>
              </a:lnTo>
              <a:lnTo>
                <a:pt x="151747" y="68556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4D5F45-2C31-47A1-9DDB-1F281B080533}">
      <dsp:nvSpPr>
        <dsp:cNvPr id="0" name=""/>
        <dsp:cNvSpPr/>
      </dsp:nvSpPr>
      <dsp:spPr>
        <a:xfrm>
          <a:off x="5072511" y="1831332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ыделено –            </a:t>
          </a:r>
          <a:r>
            <a:rPr lang="ru-RU" sz="1800" b="1" kern="1200" dirty="0" smtClean="0"/>
            <a:t>161 млн. руб.</a:t>
          </a:r>
          <a:endParaRPr lang="ru-RU" sz="1800" b="1" kern="1200" dirty="0"/>
        </a:p>
      </dsp:txBody>
      <dsp:txXfrm>
        <a:off x="5099994" y="1858815"/>
        <a:ext cx="1446369" cy="883368"/>
      </dsp:txXfrm>
    </dsp:sp>
    <dsp:sp modelId="{E5068B93-BC4E-4BDA-BCAE-1DA2F2E2B2A7}">
      <dsp:nvSpPr>
        <dsp:cNvPr id="0" name=""/>
        <dsp:cNvSpPr/>
      </dsp:nvSpPr>
      <dsp:spPr>
        <a:xfrm>
          <a:off x="4920764" y="1614933"/>
          <a:ext cx="151747" cy="18584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58484"/>
              </a:lnTo>
              <a:lnTo>
                <a:pt x="151747" y="185848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E79819-FEB8-4BF0-AC3B-7E0D68BF17B8}">
      <dsp:nvSpPr>
        <dsp:cNvPr id="0" name=""/>
        <dsp:cNvSpPr/>
      </dsp:nvSpPr>
      <dsp:spPr>
        <a:xfrm>
          <a:off x="5072511" y="3004250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Исполнено -   </a:t>
          </a:r>
          <a:r>
            <a:rPr lang="ru-RU" sz="1800" b="1" kern="1200" dirty="0" smtClean="0"/>
            <a:t>161 млн. руб.</a:t>
          </a:r>
          <a:endParaRPr lang="ru-RU" sz="1800" b="1" kern="1200" dirty="0"/>
        </a:p>
      </dsp:txBody>
      <dsp:txXfrm>
        <a:off x="5099994" y="3031733"/>
        <a:ext cx="1446369" cy="883368"/>
      </dsp:txXfrm>
    </dsp:sp>
    <dsp:sp modelId="{B63C2432-0E26-4008-B20C-24061748BBAC}">
      <dsp:nvSpPr>
        <dsp:cNvPr id="0" name=""/>
        <dsp:cNvSpPr/>
      </dsp:nvSpPr>
      <dsp:spPr>
        <a:xfrm>
          <a:off x="4920764" y="1614933"/>
          <a:ext cx="134662" cy="30399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9942"/>
              </a:lnTo>
              <a:lnTo>
                <a:pt x="134662" y="30399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1C5431-2CF2-4587-A10A-07A77F68AD50}">
      <dsp:nvSpPr>
        <dsp:cNvPr id="0" name=""/>
        <dsp:cNvSpPr/>
      </dsp:nvSpPr>
      <dsp:spPr>
        <a:xfrm>
          <a:off x="5055426" y="4185708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роцент освоения - </a:t>
          </a:r>
          <a:r>
            <a:rPr lang="ru-RU" sz="1800" b="1" kern="1200" dirty="0" smtClean="0"/>
            <a:t>100</a:t>
          </a:r>
          <a:endParaRPr lang="ru-RU" sz="1800" b="1" kern="1200" dirty="0"/>
        </a:p>
      </dsp:txBody>
      <dsp:txXfrm>
        <a:off x="5082909" y="4213191"/>
        <a:ext cx="1446369" cy="883368"/>
      </dsp:txXfrm>
    </dsp:sp>
    <dsp:sp modelId="{9A8FFFA5-D6ED-4325-AF4B-D0D60F5FD893}">
      <dsp:nvSpPr>
        <dsp:cNvPr id="0" name=""/>
        <dsp:cNvSpPr/>
      </dsp:nvSpPr>
      <dsp:spPr>
        <a:xfrm>
          <a:off x="7043014" y="658413"/>
          <a:ext cx="1876669" cy="938334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«Комплексная система обращения с твердыми коммунальными отходами»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7070497" y="685896"/>
        <a:ext cx="1821703" cy="883368"/>
      </dsp:txXfrm>
    </dsp:sp>
    <dsp:sp modelId="{520A828A-7CC7-47A7-B334-71EF9E65327A}">
      <dsp:nvSpPr>
        <dsp:cNvPr id="0" name=""/>
        <dsp:cNvSpPr/>
      </dsp:nvSpPr>
      <dsp:spPr>
        <a:xfrm>
          <a:off x="7230681" y="1596748"/>
          <a:ext cx="187666" cy="703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751"/>
              </a:lnTo>
              <a:lnTo>
                <a:pt x="187666" y="7037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9C9FAA-11B5-4795-BEE9-21669FAB48E3}">
      <dsp:nvSpPr>
        <dsp:cNvPr id="0" name=""/>
        <dsp:cNvSpPr/>
      </dsp:nvSpPr>
      <dsp:spPr>
        <a:xfrm>
          <a:off x="7418348" y="1831332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ыделено –  </a:t>
          </a:r>
          <a:r>
            <a:rPr lang="ru-RU" sz="1800" b="1" kern="1200" dirty="0" smtClean="0"/>
            <a:t>91,9 млн. руб.</a:t>
          </a:r>
          <a:endParaRPr lang="ru-RU" sz="1800" b="1" kern="1200" dirty="0"/>
        </a:p>
      </dsp:txBody>
      <dsp:txXfrm>
        <a:off x="7445831" y="1858815"/>
        <a:ext cx="1446369" cy="883368"/>
      </dsp:txXfrm>
    </dsp:sp>
    <dsp:sp modelId="{B89C4EBA-BE15-4A2E-A5A2-1FBADE05A726}">
      <dsp:nvSpPr>
        <dsp:cNvPr id="0" name=""/>
        <dsp:cNvSpPr/>
      </dsp:nvSpPr>
      <dsp:spPr>
        <a:xfrm>
          <a:off x="7230681" y="1596748"/>
          <a:ext cx="187666" cy="18766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6669"/>
              </a:lnTo>
              <a:lnTo>
                <a:pt x="187666" y="187666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A261F-B039-4C1E-937F-D2660B3090B1}">
      <dsp:nvSpPr>
        <dsp:cNvPr id="0" name=""/>
        <dsp:cNvSpPr/>
      </dsp:nvSpPr>
      <dsp:spPr>
        <a:xfrm>
          <a:off x="7418348" y="3004250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Исполнено – </a:t>
          </a:r>
          <a:r>
            <a:rPr lang="ru-RU" sz="1800" b="1" kern="1200" dirty="0" smtClean="0"/>
            <a:t>91,9 млн. руб.</a:t>
          </a:r>
          <a:endParaRPr lang="ru-RU" sz="1800" b="1" kern="1200" dirty="0"/>
        </a:p>
      </dsp:txBody>
      <dsp:txXfrm>
        <a:off x="7445831" y="3031733"/>
        <a:ext cx="1446369" cy="883368"/>
      </dsp:txXfrm>
    </dsp:sp>
    <dsp:sp modelId="{A41F9BD2-1F96-46FB-9B13-4C9A8F76CDD8}">
      <dsp:nvSpPr>
        <dsp:cNvPr id="0" name=""/>
        <dsp:cNvSpPr/>
      </dsp:nvSpPr>
      <dsp:spPr>
        <a:xfrm>
          <a:off x="7230681" y="1596748"/>
          <a:ext cx="152790" cy="30379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37962"/>
              </a:lnTo>
              <a:lnTo>
                <a:pt x="152790" y="303796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37918B-B083-462C-AEA3-F85694A2C38D}">
      <dsp:nvSpPr>
        <dsp:cNvPr id="0" name=""/>
        <dsp:cNvSpPr/>
      </dsp:nvSpPr>
      <dsp:spPr>
        <a:xfrm>
          <a:off x="7383472" y="4165543"/>
          <a:ext cx="1501335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роцент освоения - </a:t>
          </a:r>
          <a:r>
            <a:rPr lang="ru-RU" sz="1800" b="1" kern="1200" dirty="0" smtClean="0"/>
            <a:t>100</a:t>
          </a:r>
          <a:endParaRPr lang="ru-RU" sz="1800" b="1" kern="1200" dirty="0"/>
        </a:p>
      </dsp:txBody>
      <dsp:txXfrm>
        <a:off x="7410955" y="4193026"/>
        <a:ext cx="1446369" cy="883368"/>
      </dsp:txXfrm>
    </dsp:sp>
    <dsp:sp modelId="{C0CB4FB3-41D2-43C1-94A6-8D4E80F007C9}">
      <dsp:nvSpPr>
        <dsp:cNvPr id="0" name=""/>
        <dsp:cNvSpPr/>
      </dsp:nvSpPr>
      <dsp:spPr>
        <a:xfrm>
          <a:off x="9222597" y="658413"/>
          <a:ext cx="1876669" cy="938334"/>
        </a:xfrm>
        <a:prstGeom prst="roundRect">
          <a:avLst>
            <a:gd name="adj" fmla="val 10000"/>
          </a:avLst>
        </a:prstGeom>
        <a:solidFill>
          <a:srgbClr val="FFBC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«Сохранение озера Байкал»</a:t>
          </a:r>
          <a:endParaRPr lang="ru-RU" sz="1800" kern="1200" dirty="0">
            <a:solidFill>
              <a:schemeClr val="tx1"/>
            </a:solidFill>
          </a:endParaRPr>
        </a:p>
      </dsp:txBody>
      <dsp:txXfrm>
        <a:off x="9250080" y="685896"/>
        <a:ext cx="1821703" cy="883368"/>
      </dsp:txXfrm>
    </dsp:sp>
    <dsp:sp modelId="{3011458B-77CE-46D2-A779-B534E650BEF9}">
      <dsp:nvSpPr>
        <dsp:cNvPr id="0" name=""/>
        <dsp:cNvSpPr/>
      </dsp:nvSpPr>
      <dsp:spPr>
        <a:xfrm>
          <a:off x="9410264" y="1596748"/>
          <a:ext cx="326206" cy="703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3751"/>
              </a:lnTo>
              <a:lnTo>
                <a:pt x="326206" y="70375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6B28E8-8A19-4BBF-BA24-3765681958AE}">
      <dsp:nvSpPr>
        <dsp:cNvPr id="0" name=""/>
        <dsp:cNvSpPr/>
      </dsp:nvSpPr>
      <dsp:spPr>
        <a:xfrm>
          <a:off x="9736471" y="1831332"/>
          <a:ext cx="1235269" cy="93833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ГРБС – Министерство строительства, дорожного хозяйства и транспорта Забайкальского края </a:t>
          </a:r>
          <a:endParaRPr lang="ru-RU" sz="800" b="1" kern="1200" dirty="0"/>
        </a:p>
      </dsp:txBody>
      <dsp:txXfrm>
        <a:off x="9763954" y="1858815"/>
        <a:ext cx="1180303" cy="883368"/>
      </dsp:txXfrm>
    </dsp:sp>
    <dsp:sp modelId="{3E905EDA-3C3A-4F71-A5B3-C5892FDBCA92}">
      <dsp:nvSpPr>
        <dsp:cNvPr id="0" name=""/>
        <dsp:cNvSpPr/>
      </dsp:nvSpPr>
      <dsp:spPr>
        <a:xfrm>
          <a:off x="9410264" y="1596748"/>
          <a:ext cx="353921" cy="25613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1367"/>
              </a:lnTo>
              <a:lnTo>
                <a:pt x="353921" y="25613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480E42-F712-4565-A8B5-C96FA65B37B5}">
      <dsp:nvSpPr>
        <dsp:cNvPr id="0" name=""/>
        <dsp:cNvSpPr/>
      </dsp:nvSpPr>
      <dsp:spPr>
        <a:xfrm>
          <a:off x="9764185" y="3004250"/>
          <a:ext cx="1235254" cy="230773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- строительство очистных сооружений в п. Тарбагатай Петровск-Забайкальского р-на,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- строительство очистных </a:t>
          </a:r>
          <a:r>
            <a:rPr lang="ru-RU" sz="800" kern="1200" dirty="0" err="1" smtClean="0"/>
            <a:t>сооруженийст</a:t>
          </a:r>
          <a:r>
            <a:rPr lang="ru-RU" sz="800" kern="1200" dirty="0" smtClean="0"/>
            <a:t>. </a:t>
          </a:r>
          <a:r>
            <a:rPr lang="ru-RU" sz="800" kern="1200" dirty="0" err="1" smtClean="0"/>
            <a:t>Жипхеген</a:t>
          </a:r>
          <a:r>
            <a:rPr lang="ru-RU" sz="800" kern="1200" dirty="0" smtClean="0"/>
            <a:t> </a:t>
          </a:r>
          <a:r>
            <a:rPr lang="ru-RU" sz="800" kern="1200" dirty="0" err="1" smtClean="0"/>
            <a:t>Хилокского</a:t>
          </a:r>
          <a:r>
            <a:rPr lang="ru-RU" sz="800" kern="1200" dirty="0" smtClean="0"/>
            <a:t> р-на,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 - реконструкция  очистных сооружений г. Хилок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БА 2021г. – 199,6 млн. руб.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БА 2022г. – 205,3 млн. руб.</a:t>
          </a:r>
          <a:endParaRPr lang="ru-RU" sz="800" kern="1200" dirty="0"/>
        </a:p>
      </dsp:txBody>
      <dsp:txXfrm>
        <a:off x="9800364" y="3040429"/>
        <a:ext cx="1162896" cy="223537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68188" y="516061"/>
          <a:ext cx="2030860" cy="1421602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smtClean="0">
              <a:latin typeface="+mn-lt"/>
            </a:rPr>
            <a:t>I</a:t>
          </a:r>
          <a:endParaRPr lang="ru-RU" sz="4000" b="1" kern="1200" dirty="0">
            <a:latin typeface="+mn-lt"/>
          </a:endParaRPr>
        </a:p>
      </dsp:txBody>
      <dsp:txXfrm rot="-5400000">
        <a:off x="136441" y="922233"/>
        <a:ext cx="1421602" cy="609258"/>
      </dsp:txXfrm>
    </dsp:sp>
    <dsp:sp modelId="{5ECE7EA3-A7E3-4E0C-B975-41F9C359BA6D}">
      <dsp:nvSpPr>
        <dsp:cNvPr id="0" name=""/>
        <dsp:cNvSpPr/>
      </dsp:nvSpPr>
      <dsp:spPr>
        <a:xfrm rot="5400000">
          <a:off x="3589110" y="-1805440"/>
          <a:ext cx="1320059" cy="530748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эффективного сохранения и восстановления лесов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595396" y="252714"/>
        <a:ext cx="5243047" cy="1191179"/>
      </dsp:txXfrm>
    </dsp:sp>
    <dsp:sp modelId="{EAE1A14D-E2BD-42E6-894E-5B7C5940284F}">
      <dsp:nvSpPr>
        <dsp:cNvPr id="0" name=""/>
        <dsp:cNvSpPr/>
      </dsp:nvSpPr>
      <dsp:spPr>
        <a:xfrm rot="5400000">
          <a:off x="-168188" y="2263549"/>
          <a:ext cx="2030860" cy="1421602"/>
        </a:xfrm>
        <a:prstGeom prst="chevron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28575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>
              <a:latin typeface="+mn-lt"/>
            </a:rPr>
            <a:t>II</a:t>
          </a:r>
          <a:endParaRPr lang="ru-RU" sz="4000" b="1" kern="1200" dirty="0">
            <a:latin typeface="+mn-lt"/>
          </a:endParaRPr>
        </a:p>
      </dsp:txBody>
      <dsp:txXfrm rot="-5400000">
        <a:off x="136441" y="2669721"/>
        <a:ext cx="1421602" cy="609258"/>
      </dsp:txXfrm>
    </dsp:sp>
    <dsp:sp modelId="{7215DEBD-BA07-40B8-9084-51F9C12F89A0}">
      <dsp:nvSpPr>
        <dsp:cNvPr id="0" name=""/>
        <dsp:cNvSpPr/>
      </dsp:nvSpPr>
      <dsp:spPr>
        <a:xfrm rot="5400000">
          <a:off x="3641069" y="-71697"/>
          <a:ext cx="1303202" cy="53928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рационального многоцелевого и </a:t>
          </a:r>
          <a:r>
            <a:rPr lang="ru-RU" sz="18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неистощительного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использования лесов при сохранении их экологических функций и биологического разнообразия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596228" y="2036761"/>
        <a:ext cx="5329268" cy="1175968"/>
      </dsp:txXfrm>
    </dsp:sp>
    <dsp:sp modelId="{A7EDEBFF-6510-4F63-9A07-4BC55A52FD68}">
      <dsp:nvSpPr>
        <dsp:cNvPr id="0" name=""/>
        <dsp:cNvSpPr/>
      </dsp:nvSpPr>
      <dsp:spPr>
        <a:xfrm rot="5400000">
          <a:off x="-168188" y="4002997"/>
          <a:ext cx="2030860" cy="1421602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28575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b="1" kern="1200" dirty="0" smtClean="0">
              <a:latin typeface="+mn-lt"/>
            </a:rPr>
            <a:t>III</a:t>
          </a:r>
          <a:endParaRPr lang="ru-RU" sz="4000" b="1" kern="1200" dirty="0">
            <a:latin typeface="+mn-lt"/>
          </a:endParaRPr>
        </a:p>
      </dsp:txBody>
      <dsp:txXfrm rot="-5400000">
        <a:off x="136441" y="4409169"/>
        <a:ext cx="1421602" cy="609258"/>
      </dsp:txXfrm>
    </dsp:sp>
    <dsp:sp modelId="{DBFDEF8E-11A9-45BD-BD7E-4BCEC19E877E}">
      <dsp:nvSpPr>
        <dsp:cNvPr id="0" name=""/>
        <dsp:cNvSpPr/>
      </dsp:nvSpPr>
      <dsp:spPr>
        <a:xfrm rot="5400000">
          <a:off x="3274112" y="1969211"/>
          <a:ext cx="1341589" cy="4718099"/>
        </a:xfrm>
        <a:prstGeom prst="round2SameRect">
          <a:avLst/>
        </a:prstGeom>
        <a:solidFill>
          <a:srgbClr val="FFFFFF">
            <a:alpha val="0"/>
          </a:srgbClr>
        </a:solidFill>
        <a:ln w="28575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эффективного управления лесами и устойчивого развития лесного сектора экономики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585858" y="3722957"/>
        <a:ext cx="4652608" cy="121060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444" y="389253"/>
          <a:ext cx="1847806" cy="1293464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</a:t>
          </a:r>
          <a:endParaRPr lang="ru-RU" sz="3600" kern="1200" dirty="0"/>
        </a:p>
      </dsp:txBody>
      <dsp:txXfrm rot="-5400000">
        <a:off x="22727" y="758814"/>
        <a:ext cx="1293464" cy="554342"/>
      </dsp:txXfrm>
    </dsp:sp>
    <dsp:sp modelId="{4BC5D174-82E1-455A-8266-2EF651317590}">
      <dsp:nvSpPr>
        <dsp:cNvPr id="0" name=""/>
        <dsp:cNvSpPr/>
      </dsp:nvSpPr>
      <dsp:spPr>
        <a:xfrm rot="5400000">
          <a:off x="5508566" y="-4063929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беспечение баланса выбытия и воспроизводства лесов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воение расчетной лесосеки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величение площади переданных в аренду лесов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209805"/>
        <a:ext cx="9572646" cy="1083810"/>
      </dsp:txXfrm>
    </dsp:sp>
    <dsp:sp modelId="{B3C1D9A3-46B4-4E40-BD14-497C0DCDB4DC}">
      <dsp:nvSpPr>
        <dsp:cNvPr id="0" name=""/>
        <dsp:cNvSpPr/>
      </dsp:nvSpPr>
      <dsp:spPr>
        <a:xfrm rot="5400000">
          <a:off x="-277170" y="1934650"/>
          <a:ext cx="1847806" cy="1293464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</a:t>
          </a:r>
          <a:endParaRPr lang="ru-RU" sz="3600" kern="1200" dirty="0"/>
        </a:p>
      </dsp:txBody>
      <dsp:txXfrm rot="-5400000">
        <a:off x="1" y="2304211"/>
        <a:ext cx="1293464" cy="554342"/>
      </dsp:txXfrm>
    </dsp:sp>
    <dsp:sp modelId="{BA1055A7-1216-4086-83B6-4D1BE3CE8907}">
      <dsp:nvSpPr>
        <dsp:cNvPr id="0" name=""/>
        <dsp:cNvSpPr/>
      </dsp:nvSpPr>
      <dsp:spPr>
        <a:xfrm rot="5400000">
          <a:off x="5508566" y="-2557622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ормирование лесосечного фонда в целях обеспечения граждан древесиной для собственных нужд </a:t>
          </a:r>
          <a:endParaRPr lang="ru-RU" sz="2500" b="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sz="1800" b="1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государственного лесного надзора (лесная охрана)</a:t>
          </a:r>
          <a:endParaRPr lang="ru-RU" sz="1800" b="1" kern="1200" dirty="0">
            <a:solidFill>
              <a:schemeClr val="tx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-5400000">
        <a:off x="1293464" y="1716112"/>
        <a:ext cx="9572646" cy="1083810"/>
      </dsp:txXfrm>
    </dsp:sp>
    <dsp:sp modelId="{302FC55C-58A2-4FF3-96AC-10CFA0052481}">
      <dsp:nvSpPr>
        <dsp:cNvPr id="0" name=""/>
        <dsp:cNvSpPr/>
      </dsp:nvSpPr>
      <dsp:spPr>
        <a:xfrm rot="5400000">
          <a:off x="-277170" y="3590731"/>
          <a:ext cx="1847806" cy="1293464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I</a:t>
          </a:r>
          <a:endParaRPr lang="ru-RU" sz="3600" kern="1200" dirty="0"/>
        </a:p>
      </dsp:txBody>
      <dsp:txXfrm rot="-5400000">
        <a:off x="1" y="3960292"/>
        <a:ext cx="1293464" cy="554342"/>
      </dsp:txXfrm>
    </dsp:sp>
    <dsp:sp modelId="{054E0B3D-A8D3-46C8-8CC8-57479A6700D3}">
      <dsp:nvSpPr>
        <dsp:cNvPr id="0" name=""/>
        <dsp:cNvSpPr/>
      </dsp:nvSpPr>
      <dsp:spPr>
        <a:xfrm rot="5400000">
          <a:off x="5508566" y="-901541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sz="1800" b="1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государственного лесного надзора (лесная охрана)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рганизация и осуществление охраны и защиты лесов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3372193"/>
        <a:ext cx="9572646" cy="108381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444" y="389253"/>
          <a:ext cx="1847806" cy="1293464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</a:t>
          </a:r>
          <a:endParaRPr lang="ru-RU" sz="3600" kern="1200" dirty="0"/>
        </a:p>
      </dsp:txBody>
      <dsp:txXfrm rot="-5400000">
        <a:off x="22727" y="758814"/>
        <a:ext cx="1293464" cy="554342"/>
      </dsp:txXfrm>
    </dsp:sp>
    <dsp:sp modelId="{4BC5D174-82E1-455A-8266-2EF651317590}">
      <dsp:nvSpPr>
        <dsp:cNvPr id="0" name=""/>
        <dsp:cNvSpPr/>
      </dsp:nvSpPr>
      <dsp:spPr>
        <a:xfrm rot="5400000">
          <a:off x="5508566" y="-4063929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беспечение баланса выбытия и воспроизводства лесов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воение расчетной лесосеки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Увеличение площади переданных в аренду лесов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209805"/>
        <a:ext cx="9572646" cy="1083810"/>
      </dsp:txXfrm>
    </dsp:sp>
    <dsp:sp modelId="{B3C1D9A3-46B4-4E40-BD14-497C0DCDB4DC}">
      <dsp:nvSpPr>
        <dsp:cNvPr id="0" name=""/>
        <dsp:cNvSpPr/>
      </dsp:nvSpPr>
      <dsp:spPr>
        <a:xfrm rot="5400000">
          <a:off x="-277170" y="1934650"/>
          <a:ext cx="1847806" cy="1293464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</a:t>
          </a:r>
          <a:endParaRPr lang="ru-RU" sz="3600" kern="1200" dirty="0"/>
        </a:p>
      </dsp:txBody>
      <dsp:txXfrm rot="-5400000">
        <a:off x="1" y="2304211"/>
        <a:ext cx="1293464" cy="554342"/>
      </dsp:txXfrm>
    </dsp:sp>
    <dsp:sp modelId="{BA1055A7-1216-4086-83B6-4D1BE3CE8907}">
      <dsp:nvSpPr>
        <dsp:cNvPr id="0" name=""/>
        <dsp:cNvSpPr/>
      </dsp:nvSpPr>
      <dsp:spPr>
        <a:xfrm rot="5400000">
          <a:off x="5508566" y="-2557622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Эффективное прохождение </a:t>
          </a:r>
          <a:r>
            <a:rPr lang="ru-RU" sz="18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лесопожарного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сезона 2022 года: снижение</a:t>
          </a:r>
          <a:r>
            <a:rPr lang="ru-RU" sz="1800" b="1" kern="1200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площади лесных пожаров на территории лесного фонда Забайкальского края; </a:t>
          </a:r>
          <a:r>
            <a:rPr lang="ru-RU" sz="1800" b="1" kern="1200" dirty="0" err="1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достижениме</a:t>
          </a:r>
          <a:r>
            <a:rPr lang="ru-RU" sz="1800" b="1" kern="1200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показателя по оперативности тушения лесных пожаров в 1-е сутки с момента обнаружения до 65,6 %.</a:t>
          </a:r>
          <a:endParaRPr lang="ru-RU" sz="2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1716112"/>
        <a:ext cx="9572646" cy="1083810"/>
      </dsp:txXfrm>
    </dsp:sp>
    <dsp:sp modelId="{302FC55C-58A2-4FF3-96AC-10CFA0052481}">
      <dsp:nvSpPr>
        <dsp:cNvPr id="0" name=""/>
        <dsp:cNvSpPr/>
      </dsp:nvSpPr>
      <dsp:spPr>
        <a:xfrm rot="5400000">
          <a:off x="-277170" y="3590731"/>
          <a:ext cx="1847806" cy="1293464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I</a:t>
          </a:r>
          <a:endParaRPr lang="ru-RU" sz="3600" kern="1200" dirty="0"/>
        </a:p>
      </dsp:txBody>
      <dsp:txXfrm rot="-5400000">
        <a:off x="1" y="3960292"/>
        <a:ext cx="1293464" cy="554342"/>
      </dsp:txXfrm>
    </dsp:sp>
    <dsp:sp modelId="{054E0B3D-A8D3-46C8-8CC8-57479A6700D3}">
      <dsp:nvSpPr>
        <dsp:cNvPr id="0" name=""/>
        <dsp:cNvSpPr/>
      </dsp:nvSpPr>
      <dsp:spPr>
        <a:xfrm rot="5400000">
          <a:off x="5508566" y="-901541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Увеличение кратности рейдовых мероприятий при осуществлении федерального государственного надзора в лесах</a:t>
          </a: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293464" y="3372193"/>
        <a:ext cx="9572646" cy="108381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30013" y="352910"/>
          <a:ext cx="1670381" cy="1169267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I</a:t>
          </a:r>
          <a:endParaRPr lang="ru-RU" sz="3200" kern="1200" dirty="0"/>
        </a:p>
      </dsp:txBody>
      <dsp:txXfrm rot="-5400000">
        <a:off x="20545" y="686987"/>
        <a:ext cx="1169267" cy="501114"/>
      </dsp:txXfrm>
    </dsp:sp>
    <dsp:sp modelId="{4BC5D174-82E1-455A-8266-2EF651317590}">
      <dsp:nvSpPr>
        <dsp:cNvPr id="0" name=""/>
        <dsp:cNvSpPr/>
      </dsp:nvSpPr>
      <dsp:spPr>
        <a:xfrm rot="5400000">
          <a:off x="5581694" y="-4274736"/>
          <a:ext cx="1085748" cy="99106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существление мер по предотвращению негативного воздействия вод, охране водных объектов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169268" y="190692"/>
        <a:ext cx="9857599" cy="979744"/>
      </dsp:txXfrm>
    </dsp:sp>
    <dsp:sp modelId="{B3C1D9A3-46B4-4E40-BD14-497C0DCDB4DC}">
      <dsp:nvSpPr>
        <dsp:cNvPr id="0" name=""/>
        <dsp:cNvSpPr/>
      </dsp:nvSpPr>
      <dsp:spPr>
        <a:xfrm rot="5400000">
          <a:off x="-250557" y="1729941"/>
          <a:ext cx="1670381" cy="1169267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II</a:t>
          </a:r>
          <a:endParaRPr lang="ru-RU" sz="3200" kern="1200" dirty="0"/>
        </a:p>
      </dsp:txBody>
      <dsp:txXfrm rot="-5400000">
        <a:off x="1" y="2064018"/>
        <a:ext cx="1169267" cy="501114"/>
      </dsp:txXfrm>
    </dsp:sp>
    <dsp:sp modelId="{BA1055A7-1216-4086-83B6-4D1BE3CE8907}">
      <dsp:nvSpPr>
        <dsp:cNvPr id="0" name=""/>
        <dsp:cNvSpPr/>
      </dsp:nvSpPr>
      <dsp:spPr>
        <a:xfrm rot="5400000">
          <a:off x="5581694" y="-2933042"/>
          <a:ext cx="1085748" cy="99106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ение безопасности гидротехнических сооружений</a:t>
          </a:r>
          <a:endParaRPr lang="ru-RU" sz="2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169268" y="1532386"/>
        <a:ext cx="9857599" cy="979744"/>
      </dsp:txXfrm>
    </dsp:sp>
    <dsp:sp modelId="{302FC55C-58A2-4FF3-96AC-10CFA0052481}">
      <dsp:nvSpPr>
        <dsp:cNvPr id="0" name=""/>
        <dsp:cNvSpPr/>
      </dsp:nvSpPr>
      <dsp:spPr>
        <a:xfrm rot="5400000">
          <a:off x="-250557" y="3207028"/>
          <a:ext cx="1670381" cy="1169267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III</a:t>
          </a:r>
          <a:endParaRPr lang="ru-RU" sz="3200" kern="1200" dirty="0"/>
        </a:p>
      </dsp:txBody>
      <dsp:txXfrm rot="-5400000">
        <a:off x="1" y="3541105"/>
        <a:ext cx="1169267" cy="501114"/>
      </dsp:txXfrm>
    </dsp:sp>
    <dsp:sp modelId="{054E0B3D-A8D3-46C8-8CC8-57479A6700D3}">
      <dsp:nvSpPr>
        <dsp:cNvPr id="0" name=""/>
        <dsp:cNvSpPr/>
      </dsp:nvSpPr>
      <dsp:spPr>
        <a:xfrm rot="5400000">
          <a:off x="5581694" y="-1455955"/>
          <a:ext cx="1085748" cy="991060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4472C4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охранение водных биологических ресурсов</a:t>
          </a: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169268" y="3009473"/>
        <a:ext cx="9857599" cy="9797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.emf"/><Relationship Id="rId4" Type="http://schemas.openxmlformats.org/officeDocument/2006/relationships/image" Target="../media/image18.png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306</cdr:x>
      <cdr:y>0.39344</cdr:y>
    </cdr:from>
    <cdr:to>
      <cdr:x>0.47919</cdr:x>
      <cdr:y>0.5678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02076" y="1642368"/>
          <a:ext cx="1269507" cy="7279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632 особи</a:t>
          </a:r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5493</cdr:x>
      <cdr:y>0.20416</cdr:y>
    </cdr:from>
    <cdr:to>
      <cdr:x>0.73221</cdr:x>
      <cdr:y>0.4678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862200" y="852256"/>
          <a:ext cx="914400" cy="11008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301 особь</a:t>
          </a:r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3083</cdr:x>
      <cdr:y>0.58058</cdr:y>
    </cdr:from>
    <cdr:to>
      <cdr:x>0.70812</cdr:x>
      <cdr:y>0.861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737913" y="2423604"/>
          <a:ext cx="914400" cy="11718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426 особей</a:t>
          </a:r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0831</cdr:x>
      <cdr:y>0.41545</cdr:y>
    </cdr:from>
    <cdr:to>
      <cdr:x>0.48473</cdr:x>
      <cdr:y>0.5984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98035" y="207580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2973 </a:t>
          </a:r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собей</a:t>
          </a:r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618</cdr:x>
      <cdr:y>0.18269</cdr:y>
    </cdr:from>
    <cdr:to>
      <cdr:x>0.73822</cdr:x>
      <cdr:y>0.3994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911930" y="912828"/>
          <a:ext cx="914400" cy="108307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632 особи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0462</cdr:x>
      <cdr:y>0.41901</cdr:y>
    </cdr:from>
    <cdr:to>
      <cdr:x>0.78104</cdr:x>
      <cdr:y>0.6464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133872" y="2093559"/>
          <a:ext cx="914400" cy="11363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900 особи</a:t>
          </a:r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0726</cdr:x>
      <cdr:y>0.64286</cdr:y>
    </cdr:from>
    <cdr:to>
      <cdr:x>0.25686</cdr:x>
      <cdr:y>0.82313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657068" y="1529396"/>
          <a:ext cx="396509" cy="4288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9pPr>
        </a:lstStyle>
        <a:p xmlns:a="http://schemas.openxmlformats.org/drawingml/2006/main">
          <a:r>
            <a:rPr lang="ru-RU" sz="1400" dirty="0" smtClean="0"/>
            <a:t>41</a:t>
          </a:r>
          <a:endParaRPr lang="ru-RU" sz="14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9041</cdr:x>
      <cdr:y>0</cdr:y>
    </cdr:from>
    <cdr:to>
      <cdr:x>0.60959</cdr:x>
      <cdr:y>0.3769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28775" y="-245090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565EA3-5E9E-481E-AB11-BB51B3211FCE}" type="datetimeFigureOut">
              <a:rPr lang="ru-RU" smtClean="0"/>
              <a:t>18.0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852571-F52A-4637-A335-EAF64CA418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48822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816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646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46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288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9091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4921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0752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657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801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070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1163" y="1233488"/>
            <a:ext cx="5915025" cy="3327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73383">
              <a:spcBef>
                <a:spcPct val="0"/>
              </a:spcBef>
            </a:pPr>
            <a:r>
              <a:rPr lang="ru-RU" sz="170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7804" indent="-28279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5934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0940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45945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0095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55956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1096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65967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451846"/>
            <a:fld id="{E85C86C9-BC02-4CB9-A85B-BB62A5C893FB}" type="slidenum">
              <a:rPr 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 defTabSz="451846"/>
              <a:t>13</a:t>
            </a:fld>
            <a:endParaRPr 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3364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1163" y="1233488"/>
            <a:ext cx="5915025" cy="3327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73383">
              <a:spcBef>
                <a:spcPct val="0"/>
              </a:spcBef>
            </a:pPr>
            <a:r>
              <a:rPr lang="ru-RU" sz="170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7804" indent="-28279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5934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0940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45945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0095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55956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1096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65967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451846"/>
            <a:fld id="{E85C86C9-BC02-4CB9-A85B-BB62A5C893FB}" type="slidenum">
              <a:rPr 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 defTabSz="451846"/>
              <a:t>14</a:t>
            </a:fld>
            <a:endParaRPr 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8698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1163" y="1233488"/>
            <a:ext cx="5915025" cy="3327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73383">
              <a:spcBef>
                <a:spcPct val="0"/>
              </a:spcBef>
            </a:pPr>
            <a:r>
              <a:rPr lang="ru-RU" sz="170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7804" indent="-28279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5934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0940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45945" indent="-22592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0095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55956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10961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65967" indent="-225923" defTabSz="4518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451846"/>
            <a:fld id="{E85C86C9-BC02-4CB9-A85B-BB62A5C893FB}" type="slidenum">
              <a:rPr 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 defTabSz="451846"/>
              <a:t>15</a:t>
            </a:fld>
            <a:endParaRPr 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5842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87325" y="1352550"/>
            <a:ext cx="6484938" cy="36480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84288" eaLnBrk="1" hangingPunct="1"/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662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buFont typeface="Arial" panose="020B0604020202020204" pitchFamily="34" charset="0"/>
              <a:buNone/>
            </a:pPr>
            <a:fld id="{7C7F4D73-AC70-4029-8B6B-55A5504588A8}" type="slidenum">
              <a:rPr lang="ru-RU" altLang="ru-RU" smtClean="0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pPr>
                <a:buClr>
                  <a:srgbClr val="000000"/>
                </a:buClr>
                <a:buFont typeface="Arial" panose="020B0604020202020204" pitchFamily="34" charset="0"/>
                <a:buNone/>
              </a:pPr>
              <a:t>16</a:t>
            </a:fld>
            <a:endParaRPr lang="ru-RU" altLang="ru-RU" smtClean="0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926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36563" y="1235075"/>
            <a:ext cx="5924550" cy="3333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12E0519-DCA9-4C44-A867-F6126195C4EC}" type="slidenum">
              <a:rPr 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7</a:t>
            </a:fld>
            <a:endParaRPr 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1190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36563" y="1235075"/>
            <a:ext cx="5924550" cy="33337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662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BD4294B-9523-4497-A95E-A177D1FDDE54}" type="slidenum">
              <a:rPr 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8</a:t>
            </a:fld>
            <a:endParaRPr 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9230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9440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6368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65100" y="1354138"/>
            <a:ext cx="6492875" cy="36528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84288" eaLnBrk="1" hangingPunct="1"/>
            <a:endParaRPr lang="ru-RU" altLang="ru-RU" dirty="0" smtClean="0">
              <a:latin typeface="Arial" charset="0"/>
              <a:cs typeface="Arial" charset="0"/>
            </a:endParaRPr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rgbClr val="000000"/>
              </a:buClr>
              <a:buFont typeface="Arial" charset="0"/>
              <a:buNone/>
            </a:pPr>
            <a:fld id="{EA987C1C-5F3D-4DA4-9CE5-60397FCB19A4}" type="slidenum">
              <a:rPr lang="ru-RU" altLang="ru-RU" smtClean="0">
                <a:solidFill>
                  <a:srgbClr val="000000"/>
                </a:solidFill>
                <a:latin typeface="Calibri" pitchFamily="34" charset="0"/>
                <a:sym typeface="Arial" charset="0"/>
              </a:rPr>
              <a:pPr>
                <a:buClr>
                  <a:srgbClr val="000000"/>
                </a:buClr>
                <a:buFont typeface="Arial" charset="0"/>
                <a:buNone/>
              </a:pPr>
              <a:t>24</a:t>
            </a:fld>
            <a:endParaRPr lang="ru-RU" altLang="ru-RU" smtClean="0">
              <a:solidFill>
                <a:srgbClr val="000000"/>
              </a:solidFill>
              <a:latin typeface="Calibri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876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9525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9681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2060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7366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5907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875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3790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43270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5829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0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060495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4146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75104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66668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381343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48719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28709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85593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>
            <a:extLst>
              <a:ext uri="{FF2B5EF4-FFF2-40B4-BE49-F238E27FC236}">
                <a16:creationId xmlns="" xmlns:a16="http://schemas.microsoft.com/office/drawing/2014/main" id="{DA05E2DC-B96B-4505-A442-92003F3DD89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85775" y="1284288"/>
            <a:ext cx="6170613" cy="3471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>
            <a:extLst>
              <a:ext uri="{FF2B5EF4-FFF2-40B4-BE49-F238E27FC236}">
                <a16:creationId xmlns="" xmlns:a16="http://schemas.microsoft.com/office/drawing/2014/main" id="{1F232204-2EC6-4AC0-9C97-613DB8E1CB9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0688" indent="-170688">
              <a:spcBef>
                <a:spcPct val="0"/>
              </a:spcBef>
              <a:buFontTx/>
              <a:buChar char="•"/>
            </a:pPr>
            <a:endParaRPr lang="ru-RU" altLang="en-US" dirty="0"/>
          </a:p>
        </p:txBody>
      </p:sp>
      <p:sp>
        <p:nvSpPr>
          <p:cNvPr id="22532" name="Номер слайда 3">
            <a:extLst>
              <a:ext uri="{FF2B5EF4-FFF2-40B4-BE49-F238E27FC236}">
                <a16:creationId xmlns="" xmlns:a16="http://schemas.microsoft.com/office/drawing/2014/main" id="{0C1FE2DC-A7BD-4BFC-80FB-8E3D63F030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6556" indent="-28713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8547" indent="-229709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7967" indent="-229709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67386" indent="-229709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26805" indent="-2297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86223" indent="-2297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45642" indent="-2297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05061" indent="-2297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8164D2F3-E95E-494D-B5C2-4F025F57998E}" type="slidenum">
              <a:rPr lang="ru-RU" altLang="en-US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49</a:t>
            </a:fld>
            <a:endParaRPr lang="ru-RU" alt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9634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817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90044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686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4179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6905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280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oleObject" Target="../embeddings/oleObject92.bin"/><Relationship Id="rId2" Type="http://schemas.openxmlformats.org/officeDocument/2006/relationships/tags" Target="../tags/tag212.xml"/><Relationship Id="rId1" Type="http://schemas.openxmlformats.org/officeDocument/2006/relationships/vmlDrawing" Target="../drawings/vmlDrawing55.vml"/><Relationship Id="rId6" Type="http://schemas.openxmlformats.org/officeDocument/2006/relationships/tags" Target="../tags/tag216.xml"/><Relationship Id="rId11" Type="http://schemas.openxmlformats.org/officeDocument/2006/relationships/oleObject" Target="../embeddings/oleObject91.bin"/><Relationship Id="rId5" Type="http://schemas.openxmlformats.org/officeDocument/2006/relationships/tags" Target="../tags/tag215.xml"/><Relationship Id="rId10" Type="http://schemas.openxmlformats.org/officeDocument/2006/relationships/image" Target="../media/image1.emf"/><Relationship Id="rId4" Type="http://schemas.openxmlformats.org/officeDocument/2006/relationships/tags" Target="../tags/tag214.xml"/><Relationship Id="rId9" Type="http://schemas.openxmlformats.org/officeDocument/2006/relationships/oleObject" Target="../embeddings/oleObject90.bin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13" Type="http://schemas.openxmlformats.org/officeDocument/2006/relationships/image" Target="../media/image5.emf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oleObject" Target="../embeddings/oleObject95.bin"/><Relationship Id="rId2" Type="http://schemas.openxmlformats.org/officeDocument/2006/relationships/tags" Target="../tags/tag218.xml"/><Relationship Id="rId1" Type="http://schemas.openxmlformats.org/officeDocument/2006/relationships/vmlDrawing" Target="../drawings/vmlDrawing56.vml"/><Relationship Id="rId6" Type="http://schemas.openxmlformats.org/officeDocument/2006/relationships/tags" Target="../tags/tag222.xml"/><Relationship Id="rId11" Type="http://schemas.openxmlformats.org/officeDocument/2006/relationships/oleObject" Target="../embeddings/oleObject94.bin"/><Relationship Id="rId5" Type="http://schemas.openxmlformats.org/officeDocument/2006/relationships/tags" Target="../tags/tag221.xml"/><Relationship Id="rId10" Type="http://schemas.openxmlformats.org/officeDocument/2006/relationships/image" Target="../media/image1.emf"/><Relationship Id="rId4" Type="http://schemas.openxmlformats.org/officeDocument/2006/relationships/tags" Target="../tags/tag220.xml"/><Relationship Id="rId9" Type="http://schemas.openxmlformats.org/officeDocument/2006/relationships/oleObject" Target="../embeddings/oleObject93.bin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6.bin"/><Relationship Id="rId3" Type="http://schemas.openxmlformats.org/officeDocument/2006/relationships/tags" Target="../tags/tag225.xml"/><Relationship Id="rId7" Type="http://schemas.openxmlformats.org/officeDocument/2006/relationships/slideMaster" Target="../slideMasters/slideMaster6.xml"/><Relationship Id="rId12" Type="http://schemas.openxmlformats.org/officeDocument/2006/relationships/image" Target="../media/image7.png"/><Relationship Id="rId2" Type="http://schemas.openxmlformats.org/officeDocument/2006/relationships/tags" Target="../tags/tag224.xml"/><Relationship Id="rId1" Type="http://schemas.openxmlformats.org/officeDocument/2006/relationships/vmlDrawing" Target="../drawings/vmlDrawing57.vml"/><Relationship Id="rId6" Type="http://schemas.openxmlformats.org/officeDocument/2006/relationships/tags" Target="../tags/tag228.xml"/><Relationship Id="rId11" Type="http://schemas.openxmlformats.org/officeDocument/2006/relationships/oleObject" Target="../embeddings/oleObject98.bin"/><Relationship Id="rId5" Type="http://schemas.openxmlformats.org/officeDocument/2006/relationships/tags" Target="../tags/tag227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226.xml"/><Relationship Id="rId9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2.jpeg"/><Relationship Id="rId2" Type="http://schemas.openxmlformats.org/officeDocument/2006/relationships/tags" Target="../tags/tag23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4.xml"/><Relationship Id="rId7" Type="http://schemas.openxmlformats.org/officeDocument/2006/relationships/oleObject" Target="../embeddings/oleObject101.bin"/><Relationship Id="rId2" Type="http://schemas.openxmlformats.org/officeDocument/2006/relationships/tags" Target="../tags/tag233.xml"/><Relationship Id="rId1" Type="http://schemas.openxmlformats.org/officeDocument/2006/relationships/vmlDrawing" Target="../drawings/vmlDrawing6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36.xml"/><Relationship Id="rId4" Type="http://schemas.openxmlformats.org/officeDocument/2006/relationships/tags" Target="../tags/tag235.xml"/><Relationship Id="rId9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8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237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0.xml"/><Relationship Id="rId4" Type="http://schemas.openxmlformats.org/officeDocument/2006/relationships/tags" Target="../tags/tag239.xml"/><Relationship Id="rId9" Type="http://schemas.openxmlformats.org/officeDocument/2006/relationships/oleObject" Target="../embeddings/oleObject104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2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241.xml"/><Relationship Id="rId1" Type="http://schemas.openxmlformats.org/officeDocument/2006/relationships/vmlDrawing" Target="../drawings/vmlDrawing6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4.xml"/><Relationship Id="rId4" Type="http://schemas.openxmlformats.org/officeDocument/2006/relationships/tags" Target="../tags/tag243.xml"/><Relationship Id="rId9" Type="http://schemas.openxmlformats.org/officeDocument/2006/relationships/oleObject" Target="../embeddings/oleObject106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6.xml"/><Relationship Id="rId7" Type="http://schemas.openxmlformats.org/officeDocument/2006/relationships/oleObject" Target="../embeddings/oleObject107.bin"/><Relationship Id="rId2" Type="http://schemas.openxmlformats.org/officeDocument/2006/relationships/tags" Target="../tags/tag245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8.xml"/><Relationship Id="rId4" Type="http://schemas.openxmlformats.org/officeDocument/2006/relationships/tags" Target="../tags/tag247.xml"/><Relationship Id="rId9" Type="http://schemas.openxmlformats.org/officeDocument/2006/relationships/oleObject" Target="../embeddings/oleObject108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0.xml"/><Relationship Id="rId7" Type="http://schemas.openxmlformats.org/officeDocument/2006/relationships/oleObject" Target="../embeddings/oleObject109.bin"/><Relationship Id="rId2" Type="http://schemas.openxmlformats.org/officeDocument/2006/relationships/tags" Target="../tags/tag249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52.xml"/><Relationship Id="rId4" Type="http://schemas.openxmlformats.org/officeDocument/2006/relationships/tags" Target="../tags/tag251.xml"/><Relationship Id="rId9" Type="http://schemas.openxmlformats.org/officeDocument/2006/relationships/oleObject" Target="../embeddings/oleObject110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4.xml"/><Relationship Id="rId7" Type="http://schemas.openxmlformats.org/officeDocument/2006/relationships/oleObject" Target="../embeddings/oleObject111.bin"/><Relationship Id="rId2" Type="http://schemas.openxmlformats.org/officeDocument/2006/relationships/tags" Target="../tags/tag253.xml"/><Relationship Id="rId1" Type="http://schemas.openxmlformats.org/officeDocument/2006/relationships/vmlDrawing" Target="../drawings/vmlDrawing6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56.xml"/><Relationship Id="rId4" Type="http://schemas.openxmlformats.org/officeDocument/2006/relationships/tags" Target="../tags/tag255.xml"/><Relationship Id="rId9" Type="http://schemas.openxmlformats.org/officeDocument/2006/relationships/oleObject" Target="../embeddings/oleObject11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6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62.xml"/><Relationship Id="rId4" Type="http://schemas.openxmlformats.org/officeDocument/2006/relationships/tags" Target="../tags/tag261.xml"/><Relationship Id="rId9" Type="http://schemas.openxmlformats.org/officeDocument/2006/relationships/oleObject" Target="../embeddings/oleObject115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4.xml"/><Relationship Id="rId7" Type="http://schemas.openxmlformats.org/officeDocument/2006/relationships/oleObject" Target="../embeddings/oleObject116.bin"/><Relationship Id="rId2" Type="http://schemas.openxmlformats.org/officeDocument/2006/relationships/tags" Target="../tags/tag263.xml"/><Relationship Id="rId1" Type="http://schemas.openxmlformats.org/officeDocument/2006/relationships/vmlDrawing" Target="../drawings/vmlDrawing68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66.xml"/><Relationship Id="rId4" Type="http://schemas.openxmlformats.org/officeDocument/2006/relationships/tags" Target="../tags/tag265.xml"/><Relationship Id="rId9" Type="http://schemas.openxmlformats.org/officeDocument/2006/relationships/oleObject" Target="../embeddings/oleObject117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18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6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oleObject" Target="../embeddings/oleObject119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2.xml"/><Relationship Id="rId7" Type="http://schemas.openxmlformats.org/officeDocument/2006/relationships/oleObject" Target="../embeddings/oleObject120.bin"/><Relationship Id="rId2" Type="http://schemas.openxmlformats.org/officeDocument/2006/relationships/tags" Target="../tags/tag271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74.xml"/><Relationship Id="rId4" Type="http://schemas.openxmlformats.org/officeDocument/2006/relationships/tags" Target="../tags/tag273.xml"/><Relationship Id="rId9" Type="http://schemas.openxmlformats.org/officeDocument/2006/relationships/oleObject" Target="../embeddings/oleObject121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3.bin"/><Relationship Id="rId3" Type="http://schemas.openxmlformats.org/officeDocument/2006/relationships/tags" Target="../tags/tag276.xml"/><Relationship Id="rId7" Type="http://schemas.openxmlformats.org/officeDocument/2006/relationships/image" Target="../media/image1.emf"/><Relationship Id="rId2" Type="http://schemas.openxmlformats.org/officeDocument/2006/relationships/tags" Target="../tags/tag275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77.xml"/><Relationship Id="rId9" Type="http://schemas.openxmlformats.org/officeDocument/2006/relationships/image" Target="../media/image7.png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124.bin"/><Relationship Id="rId2" Type="http://schemas.openxmlformats.org/officeDocument/2006/relationships/tags" Target="../tags/tag278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oleObject" Target="../embeddings/oleObject125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oleObject" Target="../embeddings/oleObject127.bin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image" Target="../media/image1.emf"/><Relationship Id="rId2" Type="http://schemas.openxmlformats.org/officeDocument/2006/relationships/tags" Target="../tags/tag282.xml"/><Relationship Id="rId1" Type="http://schemas.openxmlformats.org/officeDocument/2006/relationships/vmlDrawing" Target="../drawings/vmlDrawing73.vml"/><Relationship Id="rId6" Type="http://schemas.openxmlformats.org/officeDocument/2006/relationships/tags" Target="../tags/tag286.xml"/><Relationship Id="rId11" Type="http://schemas.openxmlformats.org/officeDocument/2006/relationships/oleObject" Target="../embeddings/oleObject126.bin"/><Relationship Id="rId5" Type="http://schemas.openxmlformats.org/officeDocument/2006/relationships/tags" Target="../tags/tag285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284.xml"/><Relationship Id="rId9" Type="http://schemas.openxmlformats.org/officeDocument/2006/relationships/tags" Target="../tags/tag289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1.xml"/><Relationship Id="rId7" Type="http://schemas.openxmlformats.org/officeDocument/2006/relationships/oleObject" Target="../embeddings/oleObject128.bin"/><Relationship Id="rId2" Type="http://schemas.openxmlformats.org/officeDocument/2006/relationships/tags" Target="../tags/tag290.xml"/><Relationship Id="rId1" Type="http://schemas.openxmlformats.org/officeDocument/2006/relationships/vmlDrawing" Target="../drawings/vmlDrawing7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oleObject" Target="../embeddings/oleObject129.bin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5.xml"/><Relationship Id="rId7" Type="http://schemas.openxmlformats.org/officeDocument/2006/relationships/oleObject" Target="../embeddings/oleObject130.bin"/><Relationship Id="rId2" Type="http://schemas.openxmlformats.org/officeDocument/2006/relationships/tags" Target="../tags/tag294.xml"/><Relationship Id="rId1" Type="http://schemas.openxmlformats.org/officeDocument/2006/relationships/vmlDrawing" Target="../drawings/vmlDrawing7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97.xml"/><Relationship Id="rId4" Type="http://schemas.openxmlformats.org/officeDocument/2006/relationships/tags" Target="../tags/tag296.xml"/><Relationship Id="rId9" Type="http://schemas.openxmlformats.org/officeDocument/2006/relationships/oleObject" Target="../embeddings/oleObject13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9.xml"/><Relationship Id="rId7" Type="http://schemas.openxmlformats.org/officeDocument/2006/relationships/oleObject" Target="../embeddings/oleObject132.bin"/><Relationship Id="rId2" Type="http://schemas.openxmlformats.org/officeDocument/2006/relationships/tags" Target="../tags/tag298.xml"/><Relationship Id="rId1" Type="http://schemas.openxmlformats.org/officeDocument/2006/relationships/vmlDrawing" Target="../drawings/vmlDrawing7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01.xml"/><Relationship Id="rId4" Type="http://schemas.openxmlformats.org/officeDocument/2006/relationships/tags" Target="../tags/tag300.xml"/><Relationship Id="rId9" Type="http://schemas.openxmlformats.org/officeDocument/2006/relationships/oleObject" Target="../embeddings/oleObject133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3.xml"/><Relationship Id="rId7" Type="http://schemas.openxmlformats.org/officeDocument/2006/relationships/oleObject" Target="../embeddings/oleObject134.bin"/><Relationship Id="rId2" Type="http://schemas.openxmlformats.org/officeDocument/2006/relationships/tags" Target="../tags/tag302.xml"/><Relationship Id="rId1" Type="http://schemas.openxmlformats.org/officeDocument/2006/relationships/vmlDrawing" Target="../drawings/vmlDrawing7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05.xml"/><Relationship Id="rId4" Type="http://schemas.openxmlformats.org/officeDocument/2006/relationships/tags" Target="../tags/tag304.xml"/><Relationship Id="rId9" Type="http://schemas.openxmlformats.org/officeDocument/2006/relationships/oleObject" Target="../embeddings/oleObject135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7.xml"/><Relationship Id="rId7" Type="http://schemas.openxmlformats.org/officeDocument/2006/relationships/oleObject" Target="../embeddings/oleObject136.bin"/><Relationship Id="rId2" Type="http://schemas.openxmlformats.org/officeDocument/2006/relationships/tags" Target="../tags/tag306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09.xml"/><Relationship Id="rId4" Type="http://schemas.openxmlformats.org/officeDocument/2006/relationships/tags" Target="../tags/tag308.xml"/><Relationship Id="rId9" Type="http://schemas.openxmlformats.org/officeDocument/2006/relationships/oleObject" Target="../embeddings/oleObject137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1.xml"/><Relationship Id="rId7" Type="http://schemas.openxmlformats.org/officeDocument/2006/relationships/oleObject" Target="../embeddings/oleObject138.bin"/><Relationship Id="rId2" Type="http://schemas.openxmlformats.org/officeDocument/2006/relationships/tags" Target="../tags/tag310.xml"/><Relationship Id="rId1" Type="http://schemas.openxmlformats.org/officeDocument/2006/relationships/vmlDrawing" Target="../drawings/vmlDrawing7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13.xml"/><Relationship Id="rId4" Type="http://schemas.openxmlformats.org/officeDocument/2006/relationships/tags" Target="../tags/tag312.xml"/><Relationship Id="rId9" Type="http://schemas.openxmlformats.org/officeDocument/2006/relationships/oleObject" Target="../embeddings/oleObject139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140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8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17.xml"/><Relationship Id="rId10" Type="http://schemas.openxmlformats.org/officeDocument/2006/relationships/image" Target="../media/image5.emf"/><Relationship Id="rId4" Type="http://schemas.openxmlformats.org/officeDocument/2006/relationships/tags" Target="../tags/tag316.xml"/><Relationship Id="rId9" Type="http://schemas.openxmlformats.org/officeDocument/2006/relationships/oleObject" Target="../embeddings/oleObject14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image" Target="../media/image2.jpeg"/><Relationship Id="rId2" Type="http://schemas.openxmlformats.org/officeDocument/2006/relationships/tags" Target="../tags/tag32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3.xml"/><Relationship Id="rId7" Type="http://schemas.openxmlformats.org/officeDocument/2006/relationships/oleObject" Target="../embeddings/oleObject144.bin"/><Relationship Id="rId2" Type="http://schemas.openxmlformats.org/officeDocument/2006/relationships/tags" Target="../tags/tag322.xml"/><Relationship Id="rId1" Type="http://schemas.openxmlformats.org/officeDocument/2006/relationships/vmlDrawing" Target="../drawings/vmlDrawing83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25.xml"/><Relationship Id="rId4" Type="http://schemas.openxmlformats.org/officeDocument/2006/relationships/tags" Target="../tags/tag324.xml"/><Relationship Id="rId9" Type="http://schemas.openxmlformats.org/officeDocument/2006/relationships/oleObject" Target="../embeddings/oleObject145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7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326.xml"/><Relationship Id="rId1" Type="http://schemas.openxmlformats.org/officeDocument/2006/relationships/vmlDrawing" Target="../drawings/vmlDrawing84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oleObject" Target="../embeddings/oleObject147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1.xml"/><Relationship Id="rId7" Type="http://schemas.openxmlformats.org/officeDocument/2006/relationships/oleObject" Target="../embeddings/oleObject148.bin"/><Relationship Id="rId2" Type="http://schemas.openxmlformats.org/officeDocument/2006/relationships/tags" Target="../tags/tag330.xml"/><Relationship Id="rId1" Type="http://schemas.openxmlformats.org/officeDocument/2006/relationships/vmlDrawing" Target="../drawings/vmlDrawing85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33.xml"/><Relationship Id="rId4" Type="http://schemas.openxmlformats.org/officeDocument/2006/relationships/tags" Target="../tags/tag332.xml"/><Relationship Id="rId9" Type="http://schemas.openxmlformats.org/officeDocument/2006/relationships/oleObject" Target="../embeddings/oleObject149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5.xml"/><Relationship Id="rId7" Type="http://schemas.openxmlformats.org/officeDocument/2006/relationships/oleObject" Target="../embeddings/oleObject150.bin"/><Relationship Id="rId2" Type="http://schemas.openxmlformats.org/officeDocument/2006/relationships/tags" Target="../tags/tag334.xml"/><Relationship Id="rId1" Type="http://schemas.openxmlformats.org/officeDocument/2006/relationships/vmlDrawing" Target="../drawings/vmlDrawing86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37.xml"/><Relationship Id="rId4" Type="http://schemas.openxmlformats.org/officeDocument/2006/relationships/tags" Target="../tags/tag336.xml"/><Relationship Id="rId9" Type="http://schemas.openxmlformats.org/officeDocument/2006/relationships/oleObject" Target="../embeddings/oleObject15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9.xml"/><Relationship Id="rId7" Type="http://schemas.openxmlformats.org/officeDocument/2006/relationships/oleObject" Target="../embeddings/oleObject152.bin"/><Relationship Id="rId2" Type="http://schemas.openxmlformats.org/officeDocument/2006/relationships/tags" Target="../tags/tag338.xml"/><Relationship Id="rId1" Type="http://schemas.openxmlformats.org/officeDocument/2006/relationships/vmlDrawing" Target="../drawings/vmlDrawing87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41.xml"/><Relationship Id="rId4" Type="http://schemas.openxmlformats.org/officeDocument/2006/relationships/tags" Target="../tags/tag340.xml"/><Relationship Id="rId9" Type="http://schemas.openxmlformats.org/officeDocument/2006/relationships/oleObject" Target="../embeddings/oleObject153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3.xml"/><Relationship Id="rId7" Type="http://schemas.openxmlformats.org/officeDocument/2006/relationships/oleObject" Target="../embeddings/oleObject154.bin"/><Relationship Id="rId2" Type="http://schemas.openxmlformats.org/officeDocument/2006/relationships/tags" Target="../tags/tag342.xml"/><Relationship Id="rId1" Type="http://schemas.openxmlformats.org/officeDocument/2006/relationships/vmlDrawing" Target="../drawings/vmlDrawing88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45.xml"/><Relationship Id="rId4" Type="http://schemas.openxmlformats.org/officeDocument/2006/relationships/tags" Target="../tags/tag344.xml"/><Relationship Id="rId9" Type="http://schemas.openxmlformats.org/officeDocument/2006/relationships/oleObject" Target="../embeddings/oleObject15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9.xml"/><Relationship Id="rId7" Type="http://schemas.openxmlformats.org/officeDocument/2006/relationships/oleObject" Target="../embeddings/oleObject157.bin"/><Relationship Id="rId2" Type="http://schemas.openxmlformats.org/officeDocument/2006/relationships/tags" Target="../tags/tag348.xml"/><Relationship Id="rId1" Type="http://schemas.openxmlformats.org/officeDocument/2006/relationships/vmlDrawing" Target="../drawings/vmlDrawing90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51.xml"/><Relationship Id="rId4" Type="http://schemas.openxmlformats.org/officeDocument/2006/relationships/tags" Target="../tags/tag350.xml"/><Relationship Id="rId9" Type="http://schemas.openxmlformats.org/officeDocument/2006/relationships/oleObject" Target="../embeddings/oleObject158.bin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3.xml"/><Relationship Id="rId7" Type="http://schemas.openxmlformats.org/officeDocument/2006/relationships/oleObject" Target="../embeddings/oleObject159.bin"/><Relationship Id="rId2" Type="http://schemas.openxmlformats.org/officeDocument/2006/relationships/tags" Target="../tags/tag352.xml"/><Relationship Id="rId1" Type="http://schemas.openxmlformats.org/officeDocument/2006/relationships/vmlDrawing" Target="../drawings/vmlDrawing91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55.xml"/><Relationship Id="rId4" Type="http://schemas.openxmlformats.org/officeDocument/2006/relationships/tags" Target="../tags/tag354.xml"/><Relationship Id="rId9" Type="http://schemas.openxmlformats.org/officeDocument/2006/relationships/oleObject" Target="../embeddings/oleObject160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7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356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59.xml"/><Relationship Id="rId4" Type="http://schemas.openxmlformats.org/officeDocument/2006/relationships/tags" Target="../tags/tag358.xml"/><Relationship Id="rId9" Type="http://schemas.openxmlformats.org/officeDocument/2006/relationships/oleObject" Target="../embeddings/oleObject162.bin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1.xml"/><Relationship Id="rId7" Type="http://schemas.openxmlformats.org/officeDocument/2006/relationships/oleObject" Target="../embeddings/oleObject163.bin"/><Relationship Id="rId2" Type="http://schemas.openxmlformats.org/officeDocument/2006/relationships/tags" Target="../tags/tag360.xml"/><Relationship Id="rId1" Type="http://schemas.openxmlformats.org/officeDocument/2006/relationships/vmlDrawing" Target="../drawings/vmlDrawing93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63.xml"/><Relationship Id="rId4" Type="http://schemas.openxmlformats.org/officeDocument/2006/relationships/tags" Target="../tags/tag362.xml"/><Relationship Id="rId9" Type="http://schemas.openxmlformats.org/officeDocument/2006/relationships/oleObject" Target="../embeddings/oleObject164.bin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6.bin"/><Relationship Id="rId3" Type="http://schemas.openxmlformats.org/officeDocument/2006/relationships/tags" Target="../tags/tag365.xml"/><Relationship Id="rId7" Type="http://schemas.openxmlformats.org/officeDocument/2006/relationships/image" Target="../media/image1.emf"/><Relationship Id="rId2" Type="http://schemas.openxmlformats.org/officeDocument/2006/relationships/tags" Target="../tags/tag364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165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66.xml"/><Relationship Id="rId9" Type="http://schemas.openxmlformats.org/officeDocument/2006/relationships/image" Target="../media/image7.png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8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367.xml"/><Relationship Id="rId1" Type="http://schemas.openxmlformats.org/officeDocument/2006/relationships/vmlDrawing" Target="../drawings/vmlDrawing95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70.xml"/><Relationship Id="rId4" Type="http://schemas.openxmlformats.org/officeDocument/2006/relationships/tags" Target="../tags/tag369.xml"/><Relationship Id="rId9" Type="http://schemas.openxmlformats.org/officeDocument/2006/relationships/oleObject" Target="../embeddings/oleObject168.bin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oleObject" Target="../embeddings/oleObject170.bin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1.emf"/><Relationship Id="rId2" Type="http://schemas.openxmlformats.org/officeDocument/2006/relationships/tags" Target="../tags/tag371.xml"/><Relationship Id="rId1" Type="http://schemas.openxmlformats.org/officeDocument/2006/relationships/vmlDrawing" Target="../drawings/vmlDrawing96.vml"/><Relationship Id="rId6" Type="http://schemas.openxmlformats.org/officeDocument/2006/relationships/tags" Target="../tags/tag375.xml"/><Relationship Id="rId11" Type="http://schemas.openxmlformats.org/officeDocument/2006/relationships/oleObject" Target="../embeddings/oleObject169.bin"/><Relationship Id="rId5" Type="http://schemas.openxmlformats.org/officeDocument/2006/relationships/tags" Target="../tags/tag37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373.xml"/><Relationship Id="rId9" Type="http://schemas.openxmlformats.org/officeDocument/2006/relationships/tags" Target="../tags/tag37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0.xml"/><Relationship Id="rId7" Type="http://schemas.openxmlformats.org/officeDocument/2006/relationships/oleObject" Target="../embeddings/oleObject171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97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82.xml"/><Relationship Id="rId4" Type="http://schemas.openxmlformats.org/officeDocument/2006/relationships/tags" Target="../tags/tag381.xml"/><Relationship Id="rId9" Type="http://schemas.openxmlformats.org/officeDocument/2006/relationships/oleObject" Target="../embeddings/oleObject172.bin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383.xml"/><Relationship Id="rId1" Type="http://schemas.openxmlformats.org/officeDocument/2006/relationships/vmlDrawing" Target="../drawings/vmlDrawing98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86.xml"/><Relationship Id="rId4" Type="http://schemas.openxmlformats.org/officeDocument/2006/relationships/tags" Target="../tags/tag385.xml"/><Relationship Id="rId9" Type="http://schemas.openxmlformats.org/officeDocument/2006/relationships/oleObject" Target="../embeddings/oleObject174.bin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8.xml"/><Relationship Id="rId7" Type="http://schemas.openxmlformats.org/officeDocument/2006/relationships/oleObject" Target="../embeddings/oleObject175.bin"/><Relationship Id="rId2" Type="http://schemas.openxmlformats.org/officeDocument/2006/relationships/tags" Target="../tags/tag387.xml"/><Relationship Id="rId1" Type="http://schemas.openxmlformats.org/officeDocument/2006/relationships/vmlDrawing" Target="../drawings/vmlDrawing99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90.xml"/><Relationship Id="rId4" Type="http://schemas.openxmlformats.org/officeDocument/2006/relationships/tags" Target="../tags/tag389.xml"/><Relationship Id="rId9" Type="http://schemas.openxmlformats.org/officeDocument/2006/relationships/oleObject" Target="../embeddings/oleObject176.bin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2.xml"/><Relationship Id="rId7" Type="http://schemas.openxmlformats.org/officeDocument/2006/relationships/oleObject" Target="../embeddings/oleObject177.bin"/><Relationship Id="rId2" Type="http://schemas.openxmlformats.org/officeDocument/2006/relationships/tags" Target="../tags/tag391.xml"/><Relationship Id="rId1" Type="http://schemas.openxmlformats.org/officeDocument/2006/relationships/vmlDrawing" Target="../drawings/vmlDrawing100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94.xml"/><Relationship Id="rId4" Type="http://schemas.openxmlformats.org/officeDocument/2006/relationships/tags" Target="../tags/tag393.xml"/><Relationship Id="rId9" Type="http://schemas.openxmlformats.org/officeDocument/2006/relationships/oleObject" Target="../embeddings/oleObject178.bin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96.xml"/><Relationship Id="rId7" Type="http://schemas.openxmlformats.org/officeDocument/2006/relationships/oleObject" Target="../embeddings/oleObject179.bin"/><Relationship Id="rId2" Type="http://schemas.openxmlformats.org/officeDocument/2006/relationships/tags" Target="../tags/tag395.xml"/><Relationship Id="rId1" Type="http://schemas.openxmlformats.org/officeDocument/2006/relationships/vmlDrawing" Target="../drawings/vmlDrawing101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98.xml"/><Relationship Id="rId4" Type="http://schemas.openxmlformats.org/officeDocument/2006/relationships/tags" Target="../tags/tag397.xml"/><Relationship Id="rId9" Type="http://schemas.openxmlformats.org/officeDocument/2006/relationships/oleObject" Target="../embeddings/oleObject180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0.xml"/><Relationship Id="rId7" Type="http://schemas.openxmlformats.org/officeDocument/2006/relationships/oleObject" Target="../embeddings/oleObject181.bin"/><Relationship Id="rId2" Type="http://schemas.openxmlformats.org/officeDocument/2006/relationships/tags" Target="../tags/tag399.xml"/><Relationship Id="rId1" Type="http://schemas.openxmlformats.org/officeDocument/2006/relationships/vmlDrawing" Target="../drawings/vmlDrawing102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402.xml"/><Relationship Id="rId4" Type="http://schemas.openxmlformats.org/officeDocument/2006/relationships/tags" Target="../tags/tag401.xml"/><Relationship Id="rId9" Type="http://schemas.openxmlformats.org/officeDocument/2006/relationships/oleObject" Target="../embeddings/oleObject182.bin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4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403.xml"/><Relationship Id="rId1" Type="http://schemas.openxmlformats.org/officeDocument/2006/relationships/vmlDrawing" Target="../drawings/vmlDrawing103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406.xml"/><Relationship Id="rId10" Type="http://schemas.openxmlformats.org/officeDocument/2006/relationships/image" Target="../media/image5.emf"/><Relationship Id="rId4" Type="http://schemas.openxmlformats.org/officeDocument/2006/relationships/tags" Target="../tags/tag405.xml"/><Relationship Id="rId9" Type="http://schemas.openxmlformats.org/officeDocument/2006/relationships/oleObject" Target="../embeddings/oleObject184.bin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tags" Target="../tags/tag411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414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420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2" Type="http://schemas.openxmlformats.org/officeDocument/2006/relationships/tags" Target="../tags/tag42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435.xml"/><Relationship Id="rId5" Type="http://schemas.openxmlformats.org/officeDocument/2006/relationships/tags" Target="../tags/tag434.xml"/><Relationship Id="rId10" Type="http://schemas.openxmlformats.org/officeDocument/2006/relationships/image" Target="../media/image1.emf"/><Relationship Id="rId4" Type="http://schemas.openxmlformats.org/officeDocument/2006/relationships/tags" Target="../tags/tag433.xml"/><Relationship Id="rId9" Type="http://schemas.openxmlformats.org/officeDocument/2006/relationships/oleObject" Target="../embeddings/oleObject19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440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442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444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6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445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448.xml"/><Relationship Id="rId4" Type="http://schemas.openxmlformats.org/officeDocument/2006/relationships/tags" Target="../tags/tag447.xml"/><Relationship Id="rId9" Type="http://schemas.openxmlformats.org/officeDocument/2006/relationships/oleObject" Target="../embeddings/oleObject203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450.xml"/><Relationship Id="rId2" Type="http://schemas.openxmlformats.org/officeDocument/2006/relationships/tags" Target="../tags/tag449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452.xml"/><Relationship Id="rId2" Type="http://schemas.openxmlformats.org/officeDocument/2006/relationships/tags" Target="../tags/tag451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6.bin"/><Relationship Id="rId3" Type="http://schemas.openxmlformats.org/officeDocument/2006/relationships/tags" Target="../tags/tag454.xml"/><Relationship Id="rId7" Type="http://schemas.openxmlformats.org/officeDocument/2006/relationships/slideMaster" Target="../slideMasters/slideMaster12.xml"/><Relationship Id="rId12" Type="http://schemas.openxmlformats.org/officeDocument/2006/relationships/image" Target="../media/image8.png"/><Relationship Id="rId2" Type="http://schemas.openxmlformats.org/officeDocument/2006/relationships/tags" Target="../tags/tag453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457.xml"/><Relationship Id="rId11" Type="http://schemas.openxmlformats.org/officeDocument/2006/relationships/oleObject" Target="../embeddings/oleObject208.bin"/><Relationship Id="rId5" Type="http://schemas.openxmlformats.org/officeDocument/2006/relationships/tags" Target="../tags/tag456.xml"/><Relationship Id="rId10" Type="http://schemas.openxmlformats.org/officeDocument/2006/relationships/oleObject" Target="../embeddings/oleObject207.bin"/><Relationship Id="rId4" Type="http://schemas.openxmlformats.org/officeDocument/2006/relationships/tags" Target="../tags/tag455.xml"/><Relationship Id="rId9" Type="http://schemas.openxmlformats.org/officeDocument/2006/relationships/image" Target="../media/image1.emf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459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63.xml"/><Relationship Id="rId7" Type="http://schemas.openxmlformats.org/officeDocument/2006/relationships/oleObject" Target="../embeddings/oleObject211.bin"/><Relationship Id="rId2" Type="http://schemas.openxmlformats.org/officeDocument/2006/relationships/tags" Target="../tags/tag462.xml"/><Relationship Id="rId1" Type="http://schemas.openxmlformats.org/officeDocument/2006/relationships/vmlDrawing" Target="../drawings/vmlDrawing127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65.xml"/><Relationship Id="rId10" Type="http://schemas.openxmlformats.org/officeDocument/2006/relationships/image" Target="../media/image2.jpeg"/><Relationship Id="rId4" Type="http://schemas.openxmlformats.org/officeDocument/2006/relationships/tags" Target="../tags/tag464.xml"/><Relationship Id="rId9" Type="http://schemas.openxmlformats.org/officeDocument/2006/relationships/oleObject" Target="../embeddings/oleObject212.bin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67.xml"/><Relationship Id="rId7" Type="http://schemas.openxmlformats.org/officeDocument/2006/relationships/tags" Target="../tags/tag471.xml"/><Relationship Id="rId12" Type="http://schemas.openxmlformats.org/officeDocument/2006/relationships/oleObject" Target="../embeddings/oleObject215.bin"/><Relationship Id="rId2" Type="http://schemas.openxmlformats.org/officeDocument/2006/relationships/tags" Target="../tags/tag466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470.xml"/><Relationship Id="rId11" Type="http://schemas.openxmlformats.org/officeDocument/2006/relationships/oleObject" Target="../embeddings/oleObject214.bin"/><Relationship Id="rId5" Type="http://schemas.openxmlformats.org/officeDocument/2006/relationships/tags" Target="../tags/tag469.xml"/><Relationship Id="rId10" Type="http://schemas.openxmlformats.org/officeDocument/2006/relationships/image" Target="../media/image1.emf"/><Relationship Id="rId4" Type="http://schemas.openxmlformats.org/officeDocument/2006/relationships/tags" Target="../tags/tag468.xml"/><Relationship Id="rId9" Type="http://schemas.openxmlformats.org/officeDocument/2006/relationships/oleObject" Target="../embeddings/oleObject213.bin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73.xml"/><Relationship Id="rId7" Type="http://schemas.openxmlformats.org/officeDocument/2006/relationships/tags" Target="../tags/tag477.xml"/><Relationship Id="rId12" Type="http://schemas.openxmlformats.org/officeDocument/2006/relationships/oleObject" Target="../embeddings/oleObject218.bin"/><Relationship Id="rId2" Type="http://schemas.openxmlformats.org/officeDocument/2006/relationships/tags" Target="../tags/tag472.xml"/><Relationship Id="rId1" Type="http://schemas.openxmlformats.org/officeDocument/2006/relationships/vmlDrawing" Target="../drawings/vmlDrawing129.vml"/><Relationship Id="rId6" Type="http://schemas.openxmlformats.org/officeDocument/2006/relationships/tags" Target="../tags/tag476.xml"/><Relationship Id="rId11" Type="http://schemas.openxmlformats.org/officeDocument/2006/relationships/oleObject" Target="../embeddings/oleObject217.bin"/><Relationship Id="rId5" Type="http://schemas.openxmlformats.org/officeDocument/2006/relationships/tags" Target="../tags/tag475.xml"/><Relationship Id="rId10" Type="http://schemas.openxmlformats.org/officeDocument/2006/relationships/image" Target="../media/image1.emf"/><Relationship Id="rId4" Type="http://schemas.openxmlformats.org/officeDocument/2006/relationships/tags" Target="../tags/tag474.xml"/><Relationship Id="rId9" Type="http://schemas.openxmlformats.org/officeDocument/2006/relationships/oleObject" Target="../embeddings/oleObject216.bin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oleObject" Target="../embeddings/oleObject221.bin"/><Relationship Id="rId2" Type="http://schemas.openxmlformats.org/officeDocument/2006/relationships/tags" Target="../tags/tag478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482.xml"/><Relationship Id="rId11" Type="http://schemas.openxmlformats.org/officeDocument/2006/relationships/oleObject" Target="../embeddings/oleObject220.bin"/><Relationship Id="rId5" Type="http://schemas.openxmlformats.org/officeDocument/2006/relationships/tags" Target="../tags/tag481.xml"/><Relationship Id="rId10" Type="http://schemas.openxmlformats.org/officeDocument/2006/relationships/image" Target="../media/image1.emf"/><Relationship Id="rId4" Type="http://schemas.openxmlformats.org/officeDocument/2006/relationships/tags" Target="../tags/tag480.xml"/><Relationship Id="rId9" Type="http://schemas.openxmlformats.org/officeDocument/2006/relationships/oleObject" Target="../embeddings/oleObject21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12" Type="http://schemas.openxmlformats.org/officeDocument/2006/relationships/oleObject" Target="../embeddings/oleObject224.bin"/><Relationship Id="rId2" Type="http://schemas.openxmlformats.org/officeDocument/2006/relationships/tags" Target="../tags/tag484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488.xml"/><Relationship Id="rId11" Type="http://schemas.openxmlformats.org/officeDocument/2006/relationships/oleObject" Target="../embeddings/oleObject223.bin"/><Relationship Id="rId5" Type="http://schemas.openxmlformats.org/officeDocument/2006/relationships/tags" Target="../tags/tag487.xml"/><Relationship Id="rId10" Type="http://schemas.openxmlformats.org/officeDocument/2006/relationships/image" Target="../media/image1.emf"/><Relationship Id="rId4" Type="http://schemas.openxmlformats.org/officeDocument/2006/relationships/tags" Target="../tags/tag486.xml"/><Relationship Id="rId9" Type="http://schemas.openxmlformats.org/officeDocument/2006/relationships/oleObject" Target="../embeddings/oleObject222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12" Type="http://schemas.openxmlformats.org/officeDocument/2006/relationships/oleObject" Target="../embeddings/oleObject227.bin"/><Relationship Id="rId2" Type="http://schemas.openxmlformats.org/officeDocument/2006/relationships/tags" Target="../tags/tag490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494.xml"/><Relationship Id="rId11" Type="http://schemas.openxmlformats.org/officeDocument/2006/relationships/oleObject" Target="../embeddings/oleObject226.bin"/><Relationship Id="rId5" Type="http://schemas.openxmlformats.org/officeDocument/2006/relationships/tags" Target="../tags/tag493.xml"/><Relationship Id="rId10" Type="http://schemas.openxmlformats.org/officeDocument/2006/relationships/image" Target="../media/image1.emf"/><Relationship Id="rId4" Type="http://schemas.openxmlformats.org/officeDocument/2006/relationships/tags" Target="../tags/tag492.xml"/><Relationship Id="rId9" Type="http://schemas.openxmlformats.org/officeDocument/2006/relationships/oleObject" Target="../embeddings/oleObject225.bin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497.xml"/><Relationship Id="rId7" Type="http://schemas.openxmlformats.org/officeDocument/2006/relationships/tags" Target="../tags/tag501.xml"/><Relationship Id="rId12" Type="http://schemas.openxmlformats.org/officeDocument/2006/relationships/oleObject" Target="../embeddings/oleObject230.bin"/><Relationship Id="rId2" Type="http://schemas.openxmlformats.org/officeDocument/2006/relationships/tags" Target="../tags/tag496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500.xml"/><Relationship Id="rId11" Type="http://schemas.openxmlformats.org/officeDocument/2006/relationships/oleObject" Target="../embeddings/oleObject229.bin"/><Relationship Id="rId5" Type="http://schemas.openxmlformats.org/officeDocument/2006/relationships/tags" Target="../tags/tag499.xml"/><Relationship Id="rId10" Type="http://schemas.openxmlformats.org/officeDocument/2006/relationships/image" Target="../media/image1.emf"/><Relationship Id="rId4" Type="http://schemas.openxmlformats.org/officeDocument/2006/relationships/tags" Target="../tags/tag498.xml"/><Relationship Id="rId9" Type="http://schemas.openxmlformats.org/officeDocument/2006/relationships/oleObject" Target="../embeddings/oleObject228.bin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12" Type="http://schemas.openxmlformats.org/officeDocument/2006/relationships/oleObject" Target="../embeddings/oleObject233.bin"/><Relationship Id="rId2" Type="http://schemas.openxmlformats.org/officeDocument/2006/relationships/tags" Target="../tags/tag502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506.xml"/><Relationship Id="rId11" Type="http://schemas.openxmlformats.org/officeDocument/2006/relationships/oleObject" Target="../embeddings/oleObject232.bin"/><Relationship Id="rId5" Type="http://schemas.openxmlformats.org/officeDocument/2006/relationships/tags" Target="../tags/tag505.xml"/><Relationship Id="rId10" Type="http://schemas.openxmlformats.org/officeDocument/2006/relationships/image" Target="../media/image1.emf"/><Relationship Id="rId4" Type="http://schemas.openxmlformats.org/officeDocument/2006/relationships/tags" Target="../tags/tag504.xml"/><Relationship Id="rId9" Type="http://schemas.openxmlformats.org/officeDocument/2006/relationships/oleObject" Target="../embeddings/oleObject231.bin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09.xml"/><Relationship Id="rId7" Type="http://schemas.openxmlformats.org/officeDocument/2006/relationships/tags" Target="../tags/tag513.xml"/><Relationship Id="rId12" Type="http://schemas.openxmlformats.org/officeDocument/2006/relationships/oleObject" Target="../embeddings/oleObject236.bin"/><Relationship Id="rId2" Type="http://schemas.openxmlformats.org/officeDocument/2006/relationships/tags" Target="../tags/tag508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512.xml"/><Relationship Id="rId11" Type="http://schemas.openxmlformats.org/officeDocument/2006/relationships/oleObject" Target="../embeddings/oleObject235.bin"/><Relationship Id="rId5" Type="http://schemas.openxmlformats.org/officeDocument/2006/relationships/tags" Target="../tags/tag511.xml"/><Relationship Id="rId10" Type="http://schemas.openxmlformats.org/officeDocument/2006/relationships/image" Target="../media/image1.emf"/><Relationship Id="rId4" Type="http://schemas.openxmlformats.org/officeDocument/2006/relationships/tags" Target="../tags/tag510.xml"/><Relationship Id="rId9" Type="http://schemas.openxmlformats.org/officeDocument/2006/relationships/oleObject" Target="../embeddings/oleObject234.bin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15.xml"/><Relationship Id="rId7" Type="http://schemas.openxmlformats.org/officeDocument/2006/relationships/tags" Target="../tags/tag519.xml"/><Relationship Id="rId12" Type="http://schemas.openxmlformats.org/officeDocument/2006/relationships/oleObject" Target="../embeddings/oleObject239.bin"/><Relationship Id="rId2" Type="http://schemas.openxmlformats.org/officeDocument/2006/relationships/tags" Target="../tags/tag514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518.xml"/><Relationship Id="rId11" Type="http://schemas.openxmlformats.org/officeDocument/2006/relationships/oleObject" Target="../embeddings/oleObject238.bin"/><Relationship Id="rId5" Type="http://schemas.openxmlformats.org/officeDocument/2006/relationships/tags" Target="../tags/tag517.xml"/><Relationship Id="rId10" Type="http://schemas.openxmlformats.org/officeDocument/2006/relationships/image" Target="../media/image1.emf"/><Relationship Id="rId4" Type="http://schemas.openxmlformats.org/officeDocument/2006/relationships/tags" Target="../tags/tag516.xml"/><Relationship Id="rId9" Type="http://schemas.openxmlformats.org/officeDocument/2006/relationships/oleObject" Target="../embeddings/oleObject237.bin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oleObject" Target="../embeddings/oleObject242.bin"/><Relationship Id="rId2" Type="http://schemas.openxmlformats.org/officeDocument/2006/relationships/tags" Target="../tags/tag520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524.xml"/><Relationship Id="rId11" Type="http://schemas.openxmlformats.org/officeDocument/2006/relationships/oleObject" Target="../embeddings/oleObject241.bin"/><Relationship Id="rId5" Type="http://schemas.openxmlformats.org/officeDocument/2006/relationships/tags" Target="../tags/tag523.xml"/><Relationship Id="rId10" Type="http://schemas.openxmlformats.org/officeDocument/2006/relationships/image" Target="../media/image1.emf"/><Relationship Id="rId4" Type="http://schemas.openxmlformats.org/officeDocument/2006/relationships/tags" Target="../tags/tag522.xml"/><Relationship Id="rId9" Type="http://schemas.openxmlformats.org/officeDocument/2006/relationships/oleObject" Target="../embeddings/oleObject240.bin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12" Type="http://schemas.openxmlformats.org/officeDocument/2006/relationships/oleObject" Target="../embeddings/oleObject245.bin"/><Relationship Id="rId2" Type="http://schemas.openxmlformats.org/officeDocument/2006/relationships/tags" Target="../tags/tag526.xml"/><Relationship Id="rId1" Type="http://schemas.openxmlformats.org/officeDocument/2006/relationships/vmlDrawing" Target="../drawings/vmlDrawing138.vml"/><Relationship Id="rId6" Type="http://schemas.openxmlformats.org/officeDocument/2006/relationships/tags" Target="../tags/tag530.xml"/><Relationship Id="rId11" Type="http://schemas.openxmlformats.org/officeDocument/2006/relationships/oleObject" Target="../embeddings/oleObject244.bin"/><Relationship Id="rId5" Type="http://schemas.openxmlformats.org/officeDocument/2006/relationships/tags" Target="../tags/tag529.xml"/><Relationship Id="rId10" Type="http://schemas.openxmlformats.org/officeDocument/2006/relationships/image" Target="../media/image1.emf"/><Relationship Id="rId4" Type="http://schemas.openxmlformats.org/officeDocument/2006/relationships/tags" Target="../tags/tag528.xml"/><Relationship Id="rId9" Type="http://schemas.openxmlformats.org/officeDocument/2006/relationships/oleObject" Target="../embeddings/oleObject243.bin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tags" Target="../tags/tag538.xml"/><Relationship Id="rId13" Type="http://schemas.openxmlformats.org/officeDocument/2006/relationships/oleObject" Target="../embeddings/oleObject246.bin"/><Relationship Id="rId3" Type="http://schemas.openxmlformats.org/officeDocument/2006/relationships/tags" Target="../tags/tag533.xml"/><Relationship Id="rId7" Type="http://schemas.openxmlformats.org/officeDocument/2006/relationships/tags" Target="../tags/tag537.xml"/><Relationship Id="rId12" Type="http://schemas.openxmlformats.org/officeDocument/2006/relationships/slideMaster" Target="../slideMasters/slideMaster16.xml"/><Relationship Id="rId2" Type="http://schemas.openxmlformats.org/officeDocument/2006/relationships/tags" Target="../tags/tag532.xml"/><Relationship Id="rId16" Type="http://schemas.openxmlformats.org/officeDocument/2006/relationships/oleObject" Target="../embeddings/oleObject248.bin"/><Relationship Id="rId1" Type="http://schemas.openxmlformats.org/officeDocument/2006/relationships/vmlDrawing" Target="../drawings/vmlDrawing139.vml"/><Relationship Id="rId6" Type="http://schemas.openxmlformats.org/officeDocument/2006/relationships/tags" Target="../tags/tag536.xml"/><Relationship Id="rId11" Type="http://schemas.openxmlformats.org/officeDocument/2006/relationships/tags" Target="../tags/tag541.xml"/><Relationship Id="rId5" Type="http://schemas.openxmlformats.org/officeDocument/2006/relationships/tags" Target="../tags/tag535.xml"/><Relationship Id="rId15" Type="http://schemas.openxmlformats.org/officeDocument/2006/relationships/oleObject" Target="../embeddings/oleObject247.bin"/><Relationship Id="rId10" Type="http://schemas.openxmlformats.org/officeDocument/2006/relationships/tags" Target="../tags/tag540.xml"/><Relationship Id="rId4" Type="http://schemas.openxmlformats.org/officeDocument/2006/relationships/tags" Target="../tags/tag534.xml"/><Relationship Id="rId9" Type="http://schemas.openxmlformats.org/officeDocument/2006/relationships/tags" Target="../tags/tag539.xml"/><Relationship Id="rId1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43.xml"/><Relationship Id="rId7" Type="http://schemas.openxmlformats.org/officeDocument/2006/relationships/tags" Target="../tags/tag547.xml"/><Relationship Id="rId12" Type="http://schemas.openxmlformats.org/officeDocument/2006/relationships/oleObject" Target="../embeddings/oleObject251.bin"/><Relationship Id="rId2" Type="http://schemas.openxmlformats.org/officeDocument/2006/relationships/tags" Target="../tags/tag542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546.xml"/><Relationship Id="rId11" Type="http://schemas.openxmlformats.org/officeDocument/2006/relationships/oleObject" Target="../embeddings/oleObject250.bin"/><Relationship Id="rId5" Type="http://schemas.openxmlformats.org/officeDocument/2006/relationships/tags" Target="../tags/tag545.xml"/><Relationship Id="rId10" Type="http://schemas.openxmlformats.org/officeDocument/2006/relationships/image" Target="../media/image1.emf"/><Relationship Id="rId4" Type="http://schemas.openxmlformats.org/officeDocument/2006/relationships/tags" Target="../tags/tag544.xml"/><Relationship Id="rId9" Type="http://schemas.openxmlformats.org/officeDocument/2006/relationships/oleObject" Target="../embeddings/oleObject249.bin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12" Type="http://schemas.openxmlformats.org/officeDocument/2006/relationships/oleObject" Target="../embeddings/oleObject254.bin"/><Relationship Id="rId2" Type="http://schemas.openxmlformats.org/officeDocument/2006/relationships/tags" Target="../tags/tag548.xml"/><Relationship Id="rId1" Type="http://schemas.openxmlformats.org/officeDocument/2006/relationships/vmlDrawing" Target="../drawings/vmlDrawing141.vml"/><Relationship Id="rId6" Type="http://schemas.openxmlformats.org/officeDocument/2006/relationships/tags" Target="../tags/tag552.xml"/><Relationship Id="rId11" Type="http://schemas.openxmlformats.org/officeDocument/2006/relationships/oleObject" Target="../embeddings/oleObject253.bin"/><Relationship Id="rId5" Type="http://schemas.openxmlformats.org/officeDocument/2006/relationships/tags" Target="../tags/tag551.xml"/><Relationship Id="rId10" Type="http://schemas.openxmlformats.org/officeDocument/2006/relationships/image" Target="../media/image1.emf"/><Relationship Id="rId4" Type="http://schemas.openxmlformats.org/officeDocument/2006/relationships/tags" Target="../tags/tag550.xml"/><Relationship Id="rId9" Type="http://schemas.openxmlformats.org/officeDocument/2006/relationships/oleObject" Target="../embeddings/oleObject252.bin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oleObject" Target="../embeddings/oleObject257.bin"/><Relationship Id="rId2" Type="http://schemas.openxmlformats.org/officeDocument/2006/relationships/tags" Target="../tags/tag554.xml"/><Relationship Id="rId1" Type="http://schemas.openxmlformats.org/officeDocument/2006/relationships/vmlDrawing" Target="../drawings/vmlDrawing142.vml"/><Relationship Id="rId6" Type="http://schemas.openxmlformats.org/officeDocument/2006/relationships/tags" Target="../tags/tag558.xml"/><Relationship Id="rId11" Type="http://schemas.openxmlformats.org/officeDocument/2006/relationships/oleObject" Target="../embeddings/oleObject256.bin"/><Relationship Id="rId5" Type="http://schemas.openxmlformats.org/officeDocument/2006/relationships/tags" Target="../tags/tag557.xml"/><Relationship Id="rId10" Type="http://schemas.openxmlformats.org/officeDocument/2006/relationships/image" Target="../media/image1.emf"/><Relationship Id="rId4" Type="http://schemas.openxmlformats.org/officeDocument/2006/relationships/tags" Target="../tags/tag556.xml"/><Relationship Id="rId9" Type="http://schemas.openxmlformats.org/officeDocument/2006/relationships/oleObject" Target="../embeddings/oleObject255.bin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oleObject" Target="../embeddings/oleObject260.bin"/><Relationship Id="rId2" Type="http://schemas.openxmlformats.org/officeDocument/2006/relationships/tags" Target="../tags/tag560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564.xml"/><Relationship Id="rId11" Type="http://schemas.openxmlformats.org/officeDocument/2006/relationships/oleObject" Target="../embeddings/oleObject259.bin"/><Relationship Id="rId5" Type="http://schemas.openxmlformats.org/officeDocument/2006/relationships/tags" Target="../tags/tag563.xml"/><Relationship Id="rId10" Type="http://schemas.openxmlformats.org/officeDocument/2006/relationships/image" Target="../media/image1.emf"/><Relationship Id="rId4" Type="http://schemas.openxmlformats.org/officeDocument/2006/relationships/tags" Target="../tags/tag562.xml"/><Relationship Id="rId9" Type="http://schemas.openxmlformats.org/officeDocument/2006/relationships/oleObject" Target="../embeddings/oleObject258.bin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67.xml"/><Relationship Id="rId7" Type="http://schemas.openxmlformats.org/officeDocument/2006/relationships/tags" Target="../tags/tag571.xml"/><Relationship Id="rId12" Type="http://schemas.openxmlformats.org/officeDocument/2006/relationships/oleObject" Target="../embeddings/oleObject263.bin"/><Relationship Id="rId2" Type="http://schemas.openxmlformats.org/officeDocument/2006/relationships/tags" Target="../tags/tag566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570.xml"/><Relationship Id="rId11" Type="http://schemas.openxmlformats.org/officeDocument/2006/relationships/oleObject" Target="../embeddings/oleObject262.bin"/><Relationship Id="rId5" Type="http://schemas.openxmlformats.org/officeDocument/2006/relationships/tags" Target="../tags/tag569.xml"/><Relationship Id="rId10" Type="http://schemas.openxmlformats.org/officeDocument/2006/relationships/image" Target="../media/image1.emf"/><Relationship Id="rId4" Type="http://schemas.openxmlformats.org/officeDocument/2006/relationships/tags" Target="../tags/tag568.xml"/><Relationship Id="rId9" Type="http://schemas.openxmlformats.org/officeDocument/2006/relationships/oleObject" Target="../embeddings/oleObject261.bin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573.xml"/><Relationship Id="rId7" Type="http://schemas.openxmlformats.org/officeDocument/2006/relationships/tags" Target="../tags/tag577.xml"/><Relationship Id="rId12" Type="http://schemas.openxmlformats.org/officeDocument/2006/relationships/oleObject" Target="../embeddings/oleObject266.bin"/><Relationship Id="rId2" Type="http://schemas.openxmlformats.org/officeDocument/2006/relationships/tags" Target="../tags/tag572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576.xml"/><Relationship Id="rId11" Type="http://schemas.openxmlformats.org/officeDocument/2006/relationships/oleObject" Target="../embeddings/oleObject265.bin"/><Relationship Id="rId5" Type="http://schemas.openxmlformats.org/officeDocument/2006/relationships/tags" Target="../tags/tag575.xml"/><Relationship Id="rId10" Type="http://schemas.openxmlformats.org/officeDocument/2006/relationships/image" Target="../media/image1.emf"/><Relationship Id="rId4" Type="http://schemas.openxmlformats.org/officeDocument/2006/relationships/tags" Target="../tags/tag574.xml"/><Relationship Id="rId9" Type="http://schemas.openxmlformats.org/officeDocument/2006/relationships/oleObject" Target="../embeddings/oleObject264.bin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13" Type="http://schemas.openxmlformats.org/officeDocument/2006/relationships/image" Target="../media/image5.emf"/><Relationship Id="rId3" Type="http://schemas.openxmlformats.org/officeDocument/2006/relationships/tags" Target="../tags/tag579.xml"/><Relationship Id="rId7" Type="http://schemas.openxmlformats.org/officeDocument/2006/relationships/tags" Target="../tags/tag583.xml"/><Relationship Id="rId12" Type="http://schemas.openxmlformats.org/officeDocument/2006/relationships/oleObject" Target="../embeddings/oleObject269.bin"/><Relationship Id="rId2" Type="http://schemas.openxmlformats.org/officeDocument/2006/relationships/tags" Target="../tags/tag578.xml"/><Relationship Id="rId1" Type="http://schemas.openxmlformats.org/officeDocument/2006/relationships/vmlDrawing" Target="../drawings/vmlDrawing146.vml"/><Relationship Id="rId6" Type="http://schemas.openxmlformats.org/officeDocument/2006/relationships/tags" Target="../tags/tag582.xml"/><Relationship Id="rId11" Type="http://schemas.openxmlformats.org/officeDocument/2006/relationships/oleObject" Target="../embeddings/oleObject268.bin"/><Relationship Id="rId5" Type="http://schemas.openxmlformats.org/officeDocument/2006/relationships/tags" Target="../tags/tag581.xml"/><Relationship Id="rId10" Type="http://schemas.openxmlformats.org/officeDocument/2006/relationships/image" Target="../media/image1.emf"/><Relationship Id="rId4" Type="http://schemas.openxmlformats.org/officeDocument/2006/relationships/tags" Target="../tags/tag580.xml"/><Relationship Id="rId9" Type="http://schemas.openxmlformats.org/officeDocument/2006/relationships/oleObject" Target="../embeddings/oleObject267.bin"/></Relationships>
</file>

<file path=ppt/slideLayouts/_rels/slideLayout2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0.bin"/><Relationship Id="rId3" Type="http://schemas.openxmlformats.org/officeDocument/2006/relationships/tags" Target="../tags/tag585.xml"/><Relationship Id="rId7" Type="http://schemas.openxmlformats.org/officeDocument/2006/relationships/slideMaster" Target="../slideMasters/slideMaster16.xml"/><Relationship Id="rId12" Type="http://schemas.openxmlformats.org/officeDocument/2006/relationships/image" Target="../media/image7.png"/><Relationship Id="rId2" Type="http://schemas.openxmlformats.org/officeDocument/2006/relationships/tags" Target="../tags/tag584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588.xml"/><Relationship Id="rId11" Type="http://schemas.openxmlformats.org/officeDocument/2006/relationships/oleObject" Target="../embeddings/oleObject272.bin"/><Relationship Id="rId5" Type="http://schemas.openxmlformats.org/officeDocument/2006/relationships/tags" Target="../tags/tag587.xml"/><Relationship Id="rId10" Type="http://schemas.openxmlformats.org/officeDocument/2006/relationships/oleObject" Target="../embeddings/oleObject271.bin"/><Relationship Id="rId4" Type="http://schemas.openxmlformats.org/officeDocument/2006/relationships/tags" Target="../tags/tag586.xml"/><Relationship Id="rId9" Type="http://schemas.openxmlformats.org/officeDocument/2006/relationships/image" Target="../media/image1.emf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2" Type="http://schemas.openxmlformats.org/officeDocument/2006/relationships/tags" Target="../tags/tag591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4.bin"/><Relationship Id="rId4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594.xml"/><Relationship Id="rId2" Type="http://schemas.openxmlformats.org/officeDocument/2006/relationships/tags" Target="../tags/tag593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5.bin"/><Relationship Id="rId4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2" Type="http://schemas.openxmlformats.org/officeDocument/2006/relationships/tags" Target="../tags/tag595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6.bin"/><Relationship Id="rId4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2" Type="http://schemas.openxmlformats.org/officeDocument/2006/relationships/tags" Target="../tags/tag597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7.bin"/><Relationship Id="rId4" Type="http://schemas.openxmlformats.org/officeDocument/2006/relationships/slideMaster" Target="../slideMasters/slideMaster17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600.xml"/><Relationship Id="rId2" Type="http://schemas.openxmlformats.org/officeDocument/2006/relationships/tags" Target="../tags/tag599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8.bin"/><Relationship Id="rId4" Type="http://schemas.openxmlformats.org/officeDocument/2006/relationships/slideMaster" Target="../slideMasters/slideMaster17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602.xml"/><Relationship Id="rId2" Type="http://schemas.openxmlformats.org/officeDocument/2006/relationships/tags" Target="../tags/tag601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9.bin"/><Relationship Id="rId4" Type="http://schemas.openxmlformats.org/officeDocument/2006/relationships/slideMaster" Target="../slideMasters/slideMaster1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604.xml"/><Relationship Id="rId2" Type="http://schemas.openxmlformats.org/officeDocument/2006/relationships/tags" Target="../tags/tag603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0.bin"/><Relationship Id="rId4" Type="http://schemas.openxmlformats.org/officeDocument/2006/relationships/slideMaster" Target="../slideMasters/slideMaster17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606.xml"/><Relationship Id="rId2" Type="http://schemas.openxmlformats.org/officeDocument/2006/relationships/tags" Target="../tags/tag60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1.bin"/><Relationship Id="rId4" Type="http://schemas.openxmlformats.org/officeDocument/2006/relationships/slideMaster" Target="../slideMasters/slideMaster17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608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2.bin"/><Relationship Id="rId4" Type="http://schemas.openxmlformats.org/officeDocument/2006/relationships/slideMaster" Target="../slideMasters/slideMaster17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2" Type="http://schemas.openxmlformats.org/officeDocument/2006/relationships/tags" Target="../tags/tag609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3.bin"/><Relationship Id="rId4" Type="http://schemas.openxmlformats.org/officeDocument/2006/relationships/slideMaster" Target="../slideMasters/slideMaster1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11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4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2" Type="http://schemas.openxmlformats.org/officeDocument/2006/relationships/tags" Target="../tags/tag612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5.bin"/><Relationship Id="rId4" Type="http://schemas.openxmlformats.org/officeDocument/2006/relationships/slideMaster" Target="../slideMasters/slideMaster17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615.xml"/><Relationship Id="rId7" Type="http://schemas.openxmlformats.org/officeDocument/2006/relationships/tags" Target="../tags/tag619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161.vml"/><Relationship Id="rId6" Type="http://schemas.openxmlformats.org/officeDocument/2006/relationships/tags" Target="../tags/tag618.xml"/><Relationship Id="rId5" Type="http://schemas.openxmlformats.org/officeDocument/2006/relationships/tags" Target="../tags/tag617.xml"/><Relationship Id="rId10" Type="http://schemas.openxmlformats.org/officeDocument/2006/relationships/image" Target="../media/image1.emf"/><Relationship Id="rId4" Type="http://schemas.openxmlformats.org/officeDocument/2006/relationships/tags" Target="../tags/tag616.xml"/><Relationship Id="rId9" Type="http://schemas.openxmlformats.org/officeDocument/2006/relationships/oleObject" Target="../embeddings/oleObject286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621.xml"/><Relationship Id="rId2" Type="http://schemas.openxmlformats.org/officeDocument/2006/relationships/tags" Target="../tags/tag620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7.bin"/><Relationship Id="rId4" Type="http://schemas.openxmlformats.org/officeDocument/2006/relationships/slideMaster" Target="../slideMasters/slideMaster17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623.xml"/><Relationship Id="rId2" Type="http://schemas.openxmlformats.org/officeDocument/2006/relationships/tags" Target="../tags/tag622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17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625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9.bin"/><Relationship Id="rId4" Type="http://schemas.openxmlformats.org/officeDocument/2006/relationships/slideMaster" Target="../slideMasters/slideMaster17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627.xml"/><Relationship Id="rId2" Type="http://schemas.openxmlformats.org/officeDocument/2006/relationships/tags" Target="../tags/tag626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0.bin"/><Relationship Id="rId4" Type="http://schemas.openxmlformats.org/officeDocument/2006/relationships/slideMaster" Target="../slideMasters/slideMaster17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9.xml"/><Relationship Id="rId7" Type="http://schemas.openxmlformats.org/officeDocument/2006/relationships/oleObject" Target="../embeddings/oleObject291.bin"/><Relationship Id="rId2" Type="http://schemas.openxmlformats.org/officeDocument/2006/relationships/tags" Target="../tags/tag628.xml"/><Relationship Id="rId1" Type="http://schemas.openxmlformats.org/officeDocument/2006/relationships/vmlDrawing" Target="../drawings/vmlDrawing166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631.xml"/><Relationship Id="rId4" Type="http://schemas.openxmlformats.org/officeDocument/2006/relationships/tags" Target="../tags/tag630.xml"/><Relationship Id="rId9" Type="http://schemas.openxmlformats.org/officeDocument/2006/relationships/oleObject" Target="../embeddings/oleObject292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633.xml"/><Relationship Id="rId2" Type="http://schemas.openxmlformats.org/officeDocument/2006/relationships/tags" Target="../tags/tag632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3.bin"/><Relationship Id="rId4" Type="http://schemas.openxmlformats.org/officeDocument/2006/relationships/slideMaster" Target="../slideMasters/slideMaster17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635.xml"/><Relationship Id="rId2" Type="http://schemas.openxmlformats.org/officeDocument/2006/relationships/tags" Target="../tags/tag634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4.bin"/><Relationship Id="rId4" Type="http://schemas.openxmlformats.org/officeDocument/2006/relationships/slideMaster" Target="../slideMasters/slideMaster1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5.bin"/><Relationship Id="rId3" Type="http://schemas.openxmlformats.org/officeDocument/2006/relationships/tags" Target="../tags/tag637.xml"/><Relationship Id="rId7" Type="http://schemas.openxmlformats.org/officeDocument/2006/relationships/slideMaster" Target="../slideMasters/slideMaster17.xml"/><Relationship Id="rId12" Type="http://schemas.openxmlformats.org/officeDocument/2006/relationships/image" Target="../media/image7.png"/><Relationship Id="rId2" Type="http://schemas.openxmlformats.org/officeDocument/2006/relationships/tags" Target="../tags/tag636.xml"/><Relationship Id="rId1" Type="http://schemas.openxmlformats.org/officeDocument/2006/relationships/vmlDrawing" Target="../drawings/vmlDrawing169.vml"/><Relationship Id="rId6" Type="http://schemas.openxmlformats.org/officeDocument/2006/relationships/tags" Target="../tags/tag640.xml"/><Relationship Id="rId11" Type="http://schemas.openxmlformats.org/officeDocument/2006/relationships/oleObject" Target="../embeddings/oleObject297.bin"/><Relationship Id="rId5" Type="http://schemas.openxmlformats.org/officeDocument/2006/relationships/tags" Target="../tags/tag639.xml"/><Relationship Id="rId10" Type="http://schemas.openxmlformats.org/officeDocument/2006/relationships/oleObject" Target="../embeddings/oleObject296.bin"/><Relationship Id="rId4" Type="http://schemas.openxmlformats.org/officeDocument/2006/relationships/tags" Target="../tags/tag638.xml"/><Relationship Id="rId9" Type="http://schemas.openxmlformats.org/officeDocument/2006/relationships/image" Target="../media/image1.emf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644.xml"/><Relationship Id="rId2" Type="http://schemas.openxmlformats.org/officeDocument/2006/relationships/tags" Target="../tags/tag643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9.bin"/><Relationship Id="rId4" Type="http://schemas.openxmlformats.org/officeDocument/2006/relationships/slideMaster" Target="../slideMasters/slideMaster18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646.xml"/><Relationship Id="rId2" Type="http://schemas.openxmlformats.org/officeDocument/2006/relationships/tags" Target="../tags/tag645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0.bin"/><Relationship Id="rId4" Type="http://schemas.openxmlformats.org/officeDocument/2006/relationships/slideMaster" Target="../slideMasters/slideMaster18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tags" Target="../tags/tag648.xml"/><Relationship Id="rId2" Type="http://schemas.openxmlformats.org/officeDocument/2006/relationships/tags" Target="../tags/tag647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1.bin"/><Relationship Id="rId4" Type="http://schemas.openxmlformats.org/officeDocument/2006/relationships/slideMaster" Target="../slideMasters/slideMaster18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650.xml"/><Relationship Id="rId2" Type="http://schemas.openxmlformats.org/officeDocument/2006/relationships/tags" Target="../tags/tag64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2.bin"/><Relationship Id="rId4" Type="http://schemas.openxmlformats.org/officeDocument/2006/relationships/slideMaster" Target="../slideMasters/slideMaster18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652.xml"/><Relationship Id="rId2" Type="http://schemas.openxmlformats.org/officeDocument/2006/relationships/tags" Target="../tags/tag651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18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654.xml"/><Relationship Id="rId2" Type="http://schemas.openxmlformats.org/officeDocument/2006/relationships/tags" Target="../tags/tag653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4.bin"/><Relationship Id="rId4" Type="http://schemas.openxmlformats.org/officeDocument/2006/relationships/slideMaster" Target="../slideMasters/slideMaster1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656.xml"/><Relationship Id="rId2" Type="http://schemas.openxmlformats.org/officeDocument/2006/relationships/tags" Target="../tags/tag655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5.bin"/><Relationship Id="rId4" Type="http://schemas.openxmlformats.org/officeDocument/2006/relationships/slideMaster" Target="../slideMasters/slideMaster1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tags" Target="../tags/tag658.xml"/><Relationship Id="rId2" Type="http://schemas.openxmlformats.org/officeDocument/2006/relationships/tags" Target="../tags/tag657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6.bin"/><Relationship Id="rId4" Type="http://schemas.openxmlformats.org/officeDocument/2006/relationships/slideMaster" Target="../slideMasters/slideMaster18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2" Type="http://schemas.openxmlformats.org/officeDocument/2006/relationships/tags" Target="../tags/tag65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7.bin"/><Relationship Id="rId4" Type="http://schemas.openxmlformats.org/officeDocument/2006/relationships/slideMaster" Target="../slideMasters/slideMaster1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662.xml"/><Relationship Id="rId2" Type="http://schemas.openxmlformats.org/officeDocument/2006/relationships/tags" Target="../tags/tag661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8.bin"/><Relationship Id="rId4" Type="http://schemas.openxmlformats.org/officeDocument/2006/relationships/slideMaster" Target="../slideMasters/slideMaster1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63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9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tags" Target="../tags/tag665.xml"/><Relationship Id="rId2" Type="http://schemas.openxmlformats.org/officeDocument/2006/relationships/tags" Target="../tags/tag664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0.bin"/><Relationship Id="rId4" Type="http://schemas.openxmlformats.org/officeDocument/2006/relationships/slideMaster" Target="../slideMasters/slideMaster18.xml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2" Type="http://schemas.openxmlformats.org/officeDocument/2006/relationships/tags" Target="../tags/tag666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670.xml"/><Relationship Id="rId5" Type="http://schemas.openxmlformats.org/officeDocument/2006/relationships/tags" Target="../tags/tag669.xml"/><Relationship Id="rId10" Type="http://schemas.openxmlformats.org/officeDocument/2006/relationships/image" Target="../media/image1.emf"/><Relationship Id="rId4" Type="http://schemas.openxmlformats.org/officeDocument/2006/relationships/tags" Target="../tags/tag668.xml"/><Relationship Id="rId9" Type="http://schemas.openxmlformats.org/officeDocument/2006/relationships/oleObject" Target="../embeddings/oleObject311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tags" Target="../tags/tag673.xml"/><Relationship Id="rId2" Type="http://schemas.openxmlformats.org/officeDocument/2006/relationships/tags" Target="../tags/tag672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18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675.xml"/><Relationship Id="rId2" Type="http://schemas.openxmlformats.org/officeDocument/2006/relationships/tags" Target="../tags/tag674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3.bin"/><Relationship Id="rId4" Type="http://schemas.openxmlformats.org/officeDocument/2006/relationships/slideMaster" Target="../slideMasters/slideMaster1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677.xml"/><Relationship Id="rId2" Type="http://schemas.openxmlformats.org/officeDocument/2006/relationships/tags" Target="../tags/tag676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4.bin"/><Relationship Id="rId4" Type="http://schemas.openxmlformats.org/officeDocument/2006/relationships/slideMaster" Target="../slideMasters/slideMaster1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679.xml"/><Relationship Id="rId2" Type="http://schemas.openxmlformats.org/officeDocument/2006/relationships/tags" Target="../tags/tag678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5.bin"/><Relationship Id="rId4" Type="http://schemas.openxmlformats.org/officeDocument/2006/relationships/slideMaster" Target="../slideMasters/slideMaster1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1.xml"/><Relationship Id="rId7" Type="http://schemas.openxmlformats.org/officeDocument/2006/relationships/oleObject" Target="../embeddings/oleObject316.bin"/><Relationship Id="rId2" Type="http://schemas.openxmlformats.org/officeDocument/2006/relationships/tags" Target="../tags/tag680.xml"/><Relationship Id="rId1" Type="http://schemas.openxmlformats.org/officeDocument/2006/relationships/vmlDrawing" Target="../drawings/vmlDrawing188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683.xml"/><Relationship Id="rId4" Type="http://schemas.openxmlformats.org/officeDocument/2006/relationships/tags" Target="../tags/tag682.xml"/><Relationship Id="rId9" Type="http://schemas.openxmlformats.org/officeDocument/2006/relationships/oleObject" Target="../embeddings/oleObject317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2" Type="http://schemas.openxmlformats.org/officeDocument/2006/relationships/tags" Target="../tags/tag684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1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687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9.bin"/><Relationship Id="rId4" Type="http://schemas.openxmlformats.org/officeDocument/2006/relationships/slideMaster" Target="../slideMasters/slideMaster18.xml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0.bin"/><Relationship Id="rId3" Type="http://schemas.openxmlformats.org/officeDocument/2006/relationships/tags" Target="../tags/tag689.xml"/><Relationship Id="rId7" Type="http://schemas.openxmlformats.org/officeDocument/2006/relationships/slideMaster" Target="../slideMasters/slideMaster18.xml"/><Relationship Id="rId12" Type="http://schemas.openxmlformats.org/officeDocument/2006/relationships/image" Target="../media/image7.png"/><Relationship Id="rId2" Type="http://schemas.openxmlformats.org/officeDocument/2006/relationships/tags" Target="../tags/tag688.xml"/><Relationship Id="rId1" Type="http://schemas.openxmlformats.org/officeDocument/2006/relationships/vmlDrawing" Target="../drawings/vmlDrawing191.vml"/><Relationship Id="rId6" Type="http://schemas.openxmlformats.org/officeDocument/2006/relationships/tags" Target="../tags/tag692.xml"/><Relationship Id="rId11" Type="http://schemas.openxmlformats.org/officeDocument/2006/relationships/oleObject" Target="../embeddings/oleObject322.bin"/><Relationship Id="rId5" Type="http://schemas.openxmlformats.org/officeDocument/2006/relationships/tags" Target="../tags/tag691.xml"/><Relationship Id="rId10" Type="http://schemas.openxmlformats.org/officeDocument/2006/relationships/oleObject" Target="../embeddings/oleObject321.bin"/><Relationship Id="rId4" Type="http://schemas.openxmlformats.org/officeDocument/2006/relationships/tags" Target="../tags/tag690.xml"/><Relationship Id="rId9" Type="http://schemas.openxmlformats.org/officeDocument/2006/relationships/image" Target="../media/image1.emf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696.xml"/><Relationship Id="rId2" Type="http://schemas.openxmlformats.org/officeDocument/2006/relationships/tags" Target="../tags/tag69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4.bin"/><Relationship Id="rId4" Type="http://schemas.openxmlformats.org/officeDocument/2006/relationships/slideMaster" Target="../slideMasters/slideMaster1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698.xml"/><Relationship Id="rId2" Type="http://schemas.openxmlformats.org/officeDocument/2006/relationships/tags" Target="../tags/tag69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5.bin"/><Relationship Id="rId4" Type="http://schemas.openxmlformats.org/officeDocument/2006/relationships/slideMaster" Target="../slideMasters/slideMaster1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700.xml"/><Relationship Id="rId2" Type="http://schemas.openxmlformats.org/officeDocument/2006/relationships/tags" Target="../tags/tag69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6.bin"/><Relationship Id="rId4" Type="http://schemas.openxmlformats.org/officeDocument/2006/relationships/slideMaster" Target="../slideMasters/slideMaster1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702.xml"/><Relationship Id="rId2" Type="http://schemas.openxmlformats.org/officeDocument/2006/relationships/tags" Target="../tags/tag70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7.bin"/><Relationship Id="rId4" Type="http://schemas.openxmlformats.org/officeDocument/2006/relationships/slideMaster" Target="../slideMasters/slideMaster19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704.xml"/><Relationship Id="rId2" Type="http://schemas.openxmlformats.org/officeDocument/2006/relationships/tags" Target="../tags/tag703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8.bin"/><Relationship Id="rId4" Type="http://schemas.openxmlformats.org/officeDocument/2006/relationships/slideMaster" Target="../slideMasters/slideMaster1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706.xml"/><Relationship Id="rId2" Type="http://schemas.openxmlformats.org/officeDocument/2006/relationships/tags" Target="../tags/tag70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9.bin"/><Relationship Id="rId4" Type="http://schemas.openxmlformats.org/officeDocument/2006/relationships/slideMaster" Target="../slideMasters/slideMaster1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708.xml"/><Relationship Id="rId2" Type="http://schemas.openxmlformats.org/officeDocument/2006/relationships/tags" Target="../tags/tag70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0.bin"/><Relationship Id="rId4" Type="http://schemas.openxmlformats.org/officeDocument/2006/relationships/slideMaster" Target="../slideMasters/slideMaster1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710.xml"/><Relationship Id="rId2" Type="http://schemas.openxmlformats.org/officeDocument/2006/relationships/tags" Target="../tags/tag70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1.bin"/><Relationship Id="rId4" Type="http://schemas.openxmlformats.org/officeDocument/2006/relationships/slideMaster" Target="../slideMasters/slideMaster19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tags" Target="../tags/tag712.xml"/><Relationship Id="rId2" Type="http://schemas.openxmlformats.org/officeDocument/2006/relationships/tags" Target="../tags/tag711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2.bin"/><Relationship Id="rId4" Type="http://schemas.openxmlformats.org/officeDocument/2006/relationships/slideMaster" Target="../slideMasters/slideMaster1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tags" Target="../tags/tag714.xml"/><Relationship Id="rId2" Type="http://schemas.openxmlformats.org/officeDocument/2006/relationships/tags" Target="../tags/tag713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3.bin"/><Relationship Id="rId4" Type="http://schemas.openxmlformats.org/officeDocument/2006/relationships/slideMaster" Target="../slideMasters/slideMaster19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15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tags" Target="../tags/tag717.xml"/><Relationship Id="rId2" Type="http://schemas.openxmlformats.org/officeDocument/2006/relationships/tags" Target="../tags/tag716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5.bin"/><Relationship Id="rId4" Type="http://schemas.openxmlformats.org/officeDocument/2006/relationships/slideMaster" Target="../slideMasters/slideMaster19.xml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719.xml"/><Relationship Id="rId7" Type="http://schemas.openxmlformats.org/officeDocument/2006/relationships/tags" Target="../tags/tag723.xml"/><Relationship Id="rId2" Type="http://schemas.openxmlformats.org/officeDocument/2006/relationships/tags" Target="../tags/tag718.xml"/><Relationship Id="rId1" Type="http://schemas.openxmlformats.org/officeDocument/2006/relationships/vmlDrawing" Target="../drawings/vmlDrawing205.vml"/><Relationship Id="rId6" Type="http://schemas.openxmlformats.org/officeDocument/2006/relationships/tags" Target="../tags/tag722.xml"/><Relationship Id="rId5" Type="http://schemas.openxmlformats.org/officeDocument/2006/relationships/tags" Target="../tags/tag721.xml"/><Relationship Id="rId10" Type="http://schemas.openxmlformats.org/officeDocument/2006/relationships/image" Target="../media/image1.emf"/><Relationship Id="rId4" Type="http://schemas.openxmlformats.org/officeDocument/2006/relationships/tags" Target="../tags/tag720.xml"/><Relationship Id="rId9" Type="http://schemas.openxmlformats.org/officeDocument/2006/relationships/oleObject" Target="../embeddings/oleObject336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tags" Target="../tags/tag725.xml"/><Relationship Id="rId2" Type="http://schemas.openxmlformats.org/officeDocument/2006/relationships/tags" Target="../tags/tag724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7.bin"/><Relationship Id="rId4" Type="http://schemas.openxmlformats.org/officeDocument/2006/relationships/slideMaster" Target="../slideMasters/slideMaster1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tags" Target="../tags/tag727.xml"/><Relationship Id="rId2" Type="http://schemas.openxmlformats.org/officeDocument/2006/relationships/tags" Target="../tags/tag726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8.bin"/><Relationship Id="rId4" Type="http://schemas.openxmlformats.org/officeDocument/2006/relationships/slideMaster" Target="../slideMasters/slideMaster19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tags" Target="../tags/tag729.xml"/><Relationship Id="rId2" Type="http://schemas.openxmlformats.org/officeDocument/2006/relationships/tags" Target="../tags/tag728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9.bin"/><Relationship Id="rId4" Type="http://schemas.openxmlformats.org/officeDocument/2006/relationships/slideMaster" Target="../slideMasters/slideMaster19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731.xml"/><Relationship Id="rId2" Type="http://schemas.openxmlformats.org/officeDocument/2006/relationships/tags" Target="../tags/tag73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0.bin"/><Relationship Id="rId4" Type="http://schemas.openxmlformats.org/officeDocument/2006/relationships/slideMaster" Target="../slideMasters/slideMaster19.xml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33.xml"/><Relationship Id="rId7" Type="http://schemas.openxmlformats.org/officeDocument/2006/relationships/oleObject" Target="../embeddings/oleObject341.bin"/><Relationship Id="rId2" Type="http://schemas.openxmlformats.org/officeDocument/2006/relationships/tags" Target="../tags/tag732.xml"/><Relationship Id="rId1" Type="http://schemas.openxmlformats.org/officeDocument/2006/relationships/vmlDrawing" Target="../drawings/vmlDrawing210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735.xml"/><Relationship Id="rId4" Type="http://schemas.openxmlformats.org/officeDocument/2006/relationships/tags" Target="../tags/tag734.xml"/><Relationship Id="rId9" Type="http://schemas.openxmlformats.org/officeDocument/2006/relationships/oleObject" Target="../embeddings/oleObject342.bin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tags" Target="../tags/tag737.xml"/><Relationship Id="rId2" Type="http://schemas.openxmlformats.org/officeDocument/2006/relationships/tags" Target="../tags/tag736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3.bin"/><Relationship Id="rId4" Type="http://schemas.openxmlformats.org/officeDocument/2006/relationships/slideMaster" Target="../slideMasters/slideMaster19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739.xml"/><Relationship Id="rId2" Type="http://schemas.openxmlformats.org/officeDocument/2006/relationships/tags" Target="../tags/tag738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4.bin"/><Relationship Id="rId4" Type="http://schemas.openxmlformats.org/officeDocument/2006/relationships/slideMaster" Target="../slideMasters/slideMaster19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5.bin"/><Relationship Id="rId3" Type="http://schemas.openxmlformats.org/officeDocument/2006/relationships/tags" Target="../tags/tag741.xml"/><Relationship Id="rId7" Type="http://schemas.openxmlformats.org/officeDocument/2006/relationships/slideMaster" Target="../slideMasters/slideMaster19.xml"/><Relationship Id="rId12" Type="http://schemas.openxmlformats.org/officeDocument/2006/relationships/image" Target="../media/image7.png"/><Relationship Id="rId2" Type="http://schemas.openxmlformats.org/officeDocument/2006/relationships/tags" Target="../tags/tag740.xml"/><Relationship Id="rId1" Type="http://schemas.openxmlformats.org/officeDocument/2006/relationships/vmlDrawing" Target="../drawings/vmlDrawing213.vml"/><Relationship Id="rId6" Type="http://schemas.openxmlformats.org/officeDocument/2006/relationships/tags" Target="../tags/tag744.xml"/><Relationship Id="rId11" Type="http://schemas.openxmlformats.org/officeDocument/2006/relationships/oleObject" Target="../embeddings/oleObject347.bin"/><Relationship Id="rId5" Type="http://schemas.openxmlformats.org/officeDocument/2006/relationships/tags" Target="../tags/tag743.xml"/><Relationship Id="rId10" Type="http://schemas.openxmlformats.org/officeDocument/2006/relationships/oleObject" Target="../embeddings/oleObject346.bin"/><Relationship Id="rId4" Type="http://schemas.openxmlformats.org/officeDocument/2006/relationships/tags" Target="../tags/tag742.xml"/><Relationship Id="rId9" Type="http://schemas.openxmlformats.org/officeDocument/2006/relationships/image" Target="../media/image1.emf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748.xml"/><Relationship Id="rId2" Type="http://schemas.openxmlformats.org/officeDocument/2006/relationships/tags" Target="../tags/tag747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9.bin"/><Relationship Id="rId4" Type="http://schemas.openxmlformats.org/officeDocument/2006/relationships/slideMaster" Target="../slideMasters/slideMaster20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tags" Target="../tags/tag750.xml"/><Relationship Id="rId2" Type="http://schemas.openxmlformats.org/officeDocument/2006/relationships/tags" Target="../tags/tag749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0.bin"/><Relationship Id="rId4" Type="http://schemas.openxmlformats.org/officeDocument/2006/relationships/slideMaster" Target="../slideMasters/slideMaster2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752.xml"/><Relationship Id="rId2" Type="http://schemas.openxmlformats.org/officeDocument/2006/relationships/tags" Target="../tags/tag751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1.bin"/><Relationship Id="rId4" Type="http://schemas.openxmlformats.org/officeDocument/2006/relationships/slideMaster" Target="../slideMasters/slideMaster2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754.xml"/><Relationship Id="rId2" Type="http://schemas.openxmlformats.org/officeDocument/2006/relationships/tags" Target="../tags/tag753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2.bin"/><Relationship Id="rId4" Type="http://schemas.openxmlformats.org/officeDocument/2006/relationships/slideMaster" Target="../slideMasters/slideMaster2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tags" Target="../tags/tag756.xml"/><Relationship Id="rId2" Type="http://schemas.openxmlformats.org/officeDocument/2006/relationships/tags" Target="../tags/tag755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3.bin"/><Relationship Id="rId4" Type="http://schemas.openxmlformats.org/officeDocument/2006/relationships/slideMaster" Target="../slideMasters/slideMaster20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758.xml"/><Relationship Id="rId2" Type="http://schemas.openxmlformats.org/officeDocument/2006/relationships/tags" Target="../tags/tag757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4.bin"/><Relationship Id="rId4" Type="http://schemas.openxmlformats.org/officeDocument/2006/relationships/slideMaster" Target="../slideMasters/slideMaster2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tags" Target="../tags/tag760.xml"/><Relationship Id="rId2" Type="http://schemas.openxmlformats.org/officeDocument/2006/relationships/tags" Target="../tags/tag759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5.bin"/><Relationship Id="rId4" Type="http://schemas.openxmlformats.org/officeDocument/2006/relationships/slideMaster" Target="../slideMasters/slideMaster20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762.xml"/><Relationship Id="rId2" Type="http://schemas.openxmlformats.org/officeDocument/2006/relationships/tags" Target="../tags/tag761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6.bin"/><Relationship Id="rId4" Type="http://schemas.openxmlformats.org/officeDocument/2006/relationships/slideMaster" Target="../slideMasters/slideMaster20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tags" Target="../tags/tag764.xml"/><Relationship Id="rId2" Type="http://schemas.openxmlformats.org/officeDocument/2006/relationships/tags" Target="../tags/tag763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20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766.xml"/><Relationship Id="rId2" Type="http://schemas.openxmlformats.org/officeDocument/2006/relationships/tags" Target="../tags/tag765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8.bin"/><Relationship Id="rId4" Type="http://schemas.openxmlformats.org/officeDocument/2006/relationships/slideMaster" Target="../slideMasters/slideMaster20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tags" Target="../tags/tag769.xml"/><Relationship Id="rId2" Type="http://schemas.openxmlformats.org/officeDocument/2006/relationships/tags" Target="../tags/tag768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0.bin"/><Relationship Id="rId4" Type="http://schemas.openxmlformats.org/officeDocument/2006/relationships/slideMaster" Target="../slideMasters/slideMaster20.xml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3" Type="http://schemas.openxmlformats.org/officeDocument/2006/relationships/tags" Target="../tags/tag771.xml"/><Relationship Id="rId7" Type="http://schemas.openxmlformats.org/officeDocument/2006/relationships/tags" Target="../tags/tag775.xml"/><Relationship Id="rId2" Type="http://schemas.openxmlformats.org/officeDocument/2006/relationships/tags" Target="../tags/tag770.xml"/><Relationship Id="rId1" Type="http://schemas.openxmlformats.org/officeDocument/2006/relationships/vmlDrawing" Target="../drawings/vmlDrawing227.vml"/><Relationship Id="rId6" Type="http://schemas.openxmlformats.org/officeDocument/2006/relationships/tags" Target="../tags/tag774.xml"/><Relationship Id="rId5" Type="http://schemas.openxmlformats.org/officeDocument/2006/relationships/tags" Target="../tags/tag773.xml"/><Relationship Id="rId10" Type="http://schemas.openxmlformats.org/officeDocument/2006/relationships/image" Target="../media/image1.emf"/><Relationship Id="rId4" Type="http://schemas.openxmlformats.org/officeDocument/2006/relationships/tags" Target="../tags/tag772.xml"/><Relationship Id="rId9" Type="http://schemas.openxmlformats.org/officeDocument/2006/relationships/oleObject" Target="../embeddings/oleObject361.bin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tags" Target="../tags/tag777.xml"/><Relationship Id="rId2" Type="http://schemas.openxmlformats.org/officeDocument/2006/relationships/tags" Target="../tags/tag776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2.bin"/><Relationship Id="rId4" Type="http://schemas.openxmlformats.org/officeDocument/2006/relationships/slideMaster" Target="../slideMasters/slideMaster20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tags" Target="../tags/tag779.xml"/><Relationship Id="rId2" Type="http://schemas.openxmlformats.org/officeDocument/2006/relationships/tags" Target="../tags/tag778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3.bin"/><Relationship Id="rId4" Type="http://schemas.openxmlformats.org/officeDocument/2006/relationships/slideMaster" Target="../slideMasters/slideMaster20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tags" Target="../tags/tag781.xml"/><Relationship Id="rId2" Type="http://schemas.openxmlformats.org/officeDocument/2006/relationships/tags" Target="../tags/tag780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4.bin"/><Relationship Id="rId4" Type="http://schemas.openxmlformats.org/officeDocument/2006/relationships/slideMaster" Target="../slideMasters/slideMaster20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tags" Target="../tags/tag783.xml"/><Relationship Id="rId2" Type="http://schemas.openxmlformats.org/officeDocument/2006/relationships/tags" Target="../tags/tag782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5.bin"/><Relationship Id="rId4" Type="http://schemas.openxmlformats.org/officeDocument/2006/relationships/slideMaster" Target="../slideMasters/slideMaster20.xml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5.xml"/><Relationship Id="rId7" Type="http://schemas.openxmlformats.org/officeDocument/2006/relationships/oleObject" Target="../embeddings/oleObject366.bin"/><Relationship Id="rId2" Type="http://schemas.openxmlformats.org/officeDocument/2006/relationships/tags" Target="../tags/tag784.xml"/><Relationship Id="rId1" Type="http://schemas.openxmlformats.org/officeDocument/2006/relationships/vmlDrawing" Target="../drawings/vmlDrawing232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787.xml"/><Relationship Id="rId4" Type="http://schemas.openxmlformats.org/officeDocument/2006/relationships/tags" Target="../tags/tag786.xml"/><Relationship Id="rId9" Type="http://schemas.openxmlformats.org/officeDocument/2006/relationships/oleObject" Target="../embeddings/oleObject367.bin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tags" Target="../tags/tag789.xml"/><Relationship Id="rId2" Type="http://schemas.openxmlformats.org/officeDocument/2006/relationships/tags" Target="../tags/tag788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8.bin"/><Relationship Id="rId4" Type="http://schemas.openxmlformats.org/officeDocument/2006/relationships/slideMaster" Target="../slideMasters/slideMaster20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tags" Target="../tags/tag791.xml"/><Relationship Id="rId2" Type="http://schemas.openxmlformats.org/officeDocument/2006/relationships/tags" Target="../tags/tag790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9.bin"/><Relationship Id="rId4" Type="http://schemas.openxmlformats.org/officeDocument/2006/relationships/slideMaster" Target="../slideMasters/slideMaster20.xml"/></Relationships>
</file>

<file path=ppt/slideLayouts/_rels/slideLayout3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0.bin"/><Relationship Id="rId3" Type="http://schemas.openxmlformats.org/officeDocument/2006/relationships/tags" Target="../tags/tag793.xml"/><Relationship Id="rId7" Type="http://schemas.openxmlformats.org/officeDocument/2006/relationships/slideMaster" Target="../slideMasters/slideMaster20.xml"/><Relationship Id="rId12" Type="http://schemas.openxmlformats.org/officeDocument/2006/relationships/image" Target="../media/image7.png"/><Relationship Id="rId2" Type="http://schemas.openxmlformats.org/officeDocument/2006/relationships/tags" Target="../tags/tag792.xml"/><Relationship Id="rId1" Type="http://schemas.openxmlformats.org/officeDocument/2006/relationships/vmlDrawing" Target="../drawings/vmlDrawing235.vml"/><Relationship Id="rId6" Type="http://schemas.openxmlformats.org/officeDocument/2006/relationships/tags" Target="../tags/tag796.xml"/><Relationship Id="rId11" Type="http://schemas.openxmlformats.org/officeDocument/2006/relationships/oleObject" Target="../embeddings/oleObject372.bin"/><Relationship Id="rId5" Type="http://schemas.openxmlformats.org/officeDocument/2006/relationships/tags" Target="../tags/tag795.xml"/><Relationship Id="rId10" Type="http://schemas.openxmlformats.org/officeDocument/2006/relationships/oleObject" Target="../embeddings/oleObject371.bin"/><Relationship Id="rId4" Type="http://schemas.openxmlformats.org/officeDocument/2006/relationships/tags" Target="../tags/tag794.xml"/><Relationship Id="rId9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7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0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800.xml"/><Relationship Id="rId2" Type="http://schemas.openxmlformats.org/officeDocument/2006/relationships/tags" Target="../tags/tag799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4.bin"/><Relationship Id="rId4" Type="http://schemas.openxmlformats.org/officeDocument/2006/relationships/slideMaster" Target="../slideMasters/slideMaster2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802.xml"/><Relationship Id="rId2" Type="http://schemas.openxmlformats.org/officeDocument/2006/relationships/tags" Target="../tags/tag801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5.bin"/><Relationship Id="rId4" Type="http://schemas.openxmlformats.org/officeDocument/2006/relationships/slideMaster" Target="../slideMasters/slideMaster2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804.xml"/><Relationship Id="rId2" Type="http://schemas.openxmlformats.org/officeDocument/2006/relationships/tags" Target="../tags/tag803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6.bin"/><Relationship Id="rId4" Type="http://schemas.openxmlformats.org/officeDocument/2006/relationships/slideMaster" Target="../slideMasters/slideMaster2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806.xml"/><Relationship Id="rId2" Type="http://schemas.openxmlformats.org/officeDocument/2006/relationships/tags" Target="../tags/tag805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7.bin"/><Relationship Id="rId4" Type="http://schemas.openxmlformats.org/officeDocument/2006/relationships/slideMaster" Target="../slideMasters/slideMaster22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808.xml"/><Relationship Id="rId2" Type="http://schemas.openxmlformats.org/officeDocument/2006/relationships/tags" Target="../tags/tag807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8.bin"/><Relationship Id="rId4" Type="http://schemas.openxmlformats.org/officeDocument/2006/relationships/slideMaster" Target="../slideMasters/slideMaster2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tags" Target="../tags/tag810.xml"/><Relationship Id="rId2" Type="http://schemas.openxmlformats.org/officeDocument/2006/relationships/tags" Target="../tags/tag809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9.bin"/><Relationship Id="rId4" Type="http://schemas.openxmlformats.org/officeDocument/2006/relationships/slideMaster" Target="../slideMasters/slideMaster22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812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0.bin"/><Relationship Id="rId4" Type="http://schemas.openxmlformats.org/officeDocument/2006/relationships/slideMaster" Target="../slideMasters/slideMaster2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3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tags" Target="../tags/tag814.xml"/><Relationship Id="rId2" Type="http://schemas.openxmlformats.org/officeDocument/2006/relationships/tags" Target="../tags/tag813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1.bin"/><Relationship Id="rId4" Type="http://schemas.openxmlformats.org/officeDocument/2006/relationships/slideMaster" Target="../slideMasters/slideMaster2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816.xml"/><Relationship Id="rId2" Type="http://schemas.openxmlformats.org/officeDocument/2006/relationships/tags" Target="../tags/tag815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2.bin"/><Relationship Id="rId4" Type="http://schemas.openxmlformats.org/officeDocument/2006/relationships/slideMaster" Target="../slideMasters/slideMaster2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818.xml"/><Relationship Id="rId2" Type="http://schemas.openxmlformats.org/officeDocument/2006/relationships/tags" Target="../tags/tag817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3.bin"/><Relationship Id="rId4" Type="http://schemas.openxmlformats.org/officeDocument/2006/relationships/slideMaster" Target="../slideMasters/slideMaster2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2" Type="http://schemas.openxmlformats.org/officeDocument/2006/relationships/tags" Target="../tags/tag819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22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822.xml"/><Relationship Id="rId7" Type="http://schemas.openxmlformats.org/officeDocument/2006/relationships/tags" Target="../tags/tag826.xml"/><Relationship Id="rId2" Type="http://schemas.openxmlformats.org/officeDocument/2006/relationships/tags" Target="../tags/tag821.xml"/><Relationship Id="rId1" Type="http://schemas.openxmlformats.org/officeDocument/2006/relationships/vmlDrawing" Target="../drawings/vmlDrawing248.vml"/><Relationship Id="rId6" Type="http://schemas.openxmlformats.org/officeDocument/2006/relationships/tags" Target="../tags/tag825.xml"/><Relationship Id="rId5" Type="http://schemas.openxmlformats.org/officeDocument/2006/relationships/tags" Target="../tags/tag824.xml"/><Relationship Id="rId10" Type="http://schemas.openxmlformats.org/officeDocument/2006/relationships/image" Target="../media/image1.emf"/><Relationship Id="rId4" Type="http://schemas.openxmlformats.org/officeDocument/2006/relationships/tags" Target="../tags/tag823.xml"/><Relationship Id="rId9" Type="http://schemas.openxmlformats.org/officeDocument/2006/relationships/oleObject" Target="../embeddings/oleObject385.bin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tags" Target="../tags/tag828.xml"/><Relationship Id="rId2" Type="http://schemas.openxmlformats.org/officeDocument/2006/relationships/tags" Target="../tags/tag827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6.bin"/><Relationship Id="rId4" Type="http://schemas.openxmlformats.org/officeDocument/2006/relationships/slideMaster" Target="../slideMasters/slideMaster2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tags" Target="../tags/tag830.xml"/><Relationship Id="rId2" Type="http://schemas.openxmlformats.org/officeDocument/2006/relationships/tags" Target="../tags/tag829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7.bin"/><Relationship Id="rId4" Type="http://schemas.openxmlformats.org/officeDocument/2006/relationships/slideMaster" Target="../slideMasters/slideMaster2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tags" Target="../tags/tag832.xml"/><Relationship Id="rId2" Type="http://schemas.openxmlformats.org/officeDocument/2006/relationships/tags" Target="../tags/tag831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8.bin"/><Relationship Id="rId4" Type="http://schemas.openxmlformats.org/officeDocument/2006/relationships/slideMaster" Target="../slideMasters/slideMaster2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834.xml"/><Relationship Id="rId2" Type="http://schemas.openxmlformats.org/officeDocument/2006/relationships/tags" Target="../tags/tag833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9.bin"/><Relationship Id="rId4" Type="http://schemas.openxmlformats.org/officeDocument/2006/relationships/slideMaster" Target="../slideMasters/slideMaster22.xml"/></Relationships>
</file>

<file path=ppt/slideLayouts/_rels/slideLayout3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36.xml"/><Relationship Id="rId7" Type="http://schemas.openxmlformats.org/officeDocument/2006/relationships/oleObject" Target="../embeddings/oleObject390.bin"/><Relationship Id="rId2" Type="http://schemas.openxmlformats.org/officeDocument/2006/relationships/tags" Target="../tags/tag835.xml"/><Relationship Id="rId1" Type="http://schemas.openxmlformats.org/officeDocument/2006/relationships/vmlDrawing" Target="../drawings/vmlDrawing253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838.xml"/><Relationship Id="rId4" Type="http://schemas.openxmlformats.org/officeDocument/2006/relationships/tags" Target="../tags/tag837.xml"/><Relationship Id="rId9" Type="http://schemas.openxmlformats.org/officeDocument/2006/relationships/oleObject" Target="../embeddings/oleObject39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6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840.xml"/><Relationship Id="rId2" Type="http://schemas.openxmlformats.org/officeDocument/2006/relationships/tags" Target="../tags/tag839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2.bin"/><Relationship Id="rId4" Type="http://schemas.openxmlformats.org/officeDocument/2006/relationships/slideMaster" Target="../slideMasters/slideMaster22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842.xml"/><Relationship Id="rId2" Type="http://schemas.openxmlformats.org/officeDocument/2006/relationships/tags" Target="../tags/tag841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3.bin"/><Relationship Id="rId4" Type="http://schemas.openxmlformats.org/officeDocument/2006/relationships/slideMaster" Target="../slideMasters/slideMaster22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22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843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8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image" Target="../media/image1.emf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oleObject" Target="../embeddings/oleObject15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2.xml"/><Relationship Id="rId9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6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5.emf"/><Relationship Id="rId2" Type="http://schemas.openxmlformats.org/officeDocument/2006/relationships/tags" Target="../tags/tag7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7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1.emf"/><Relationship Id="rId4" Type="http://schemas.openxmlformats.org/officeDocument/2006/relationships/tags" Target="../tags/tag81.xml"/><Relationship Id="rId9" Type="http://schemas.openxmlformats.org/officeDocument/2006/relationships/oleObject" Target="../embeddings/oleObject2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37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05.xml"/><Relationship Id="rId10" Type="http://schemas.openxmlformats.org/officeDocument/2006/relationships/image" Target="../media/image2.jpeg"/><Relationship Id="rId4" Type="http://schemas.openxmlformats.org/officeDocument/2006/relationships/tags" Target="../tags/tag104.xml"/><Relationship Id="rId9" Type="http://schemas.openxmlformats.org/officeDocument/2006/relationships/oleObject" Target="../embeddings/oleObject38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oleObject" Target="../embeddings/oleObject41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38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109.xml"/><Relationship Id="rId10" Type="http://schemas.openxmlformats.org/officeDocument/2006/relationships/image" Target="../media/image1.emf"/><Relationship Id="rId4" Type="http://schemas.openxmlformats.org/officeDocument/2006/relationships/tags" Target="../tags/tag108.xml"/><Relationship Id="rId9" Type="http://schemas.openxmlformats.org/officeDocument/2006/relationships/oleObject" Target="../embeddings/oleObject39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oleObject" Target="../embeddings/oleObject4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39.vml"/><Relationship Id="rId6" Type="http://schemas.openxmlformats.org/officeDocument/2006/relationships/tags" Target="../tags/tag116.xml"/><Relationship Id="rId11" Type="http://schemas.openxmlformats.org/officeDocument/2006/relationships/oleObject" Target="../embeddings/oleObject43.bin"/><Relationship Id="rId5" Type="http://schemas.openxmlformats.org/officeDocument/2006/relationships/tags" Target="../tags/tag115.xml"/><Relationship Id="rId10" Type="http://schemas.openxmlformats.org/officeDocument/2006/relationships/image" Target="../media/image1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42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oleObject" Target="../embeddings/oleObject47.bin"/><Relationship Id="rId2" Type="http://schemas.openxmlformats.org/officeDocument/2006/relationships/tags" Target="../tags/tag118.xml"/><Relationship Id="rId1" Type="http://schemas.openxmlformats.org/officeDocument/2006/relationships/vmlDrawing" Target="../drawings/vmlDrawing40.vml"/><Relationship Id="rId6" Type="http://schemas.openxmlformats.org/officeDocument/2006/relationships/tags" Target="../tags/tag122.xml"/><Relationship Id="rId11" Type="http://schemas.openxmlformats.org/officeDocument/2006/relationships/oleObject" Target="../embeddings/oleObject46.bin"/><Relationship Id="rId5" Type="http://schemas.openxmlformats.org/officeDocument/2006/relationships/tags" Target="../tags/tag121.xml"/><Relationship Id="rId10" Type="http://schemas.openxmlformats.org/officeDocument/2006/relationships/image" Target="../media/image1.emf"/><Relationship Id="rId4" Type="http://schemas.openxmlformats.org/officeDocument/2006/relationships/tags" Target="../tags/tag120.xml"/><Relationship Id="rId9" Type="http://schemas.openxmlformats.org/officeDocument/2006/relationships/oleObject" Target="../embeddings/oleObject45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oleObject" Target="../embeddings/oleObject50.bin"/><Relationship Id="rId2" Type="http://schemas.openxmlformats.org/officeDocument/2006/relationships/tags" Target="../tags/tag124.xml"/><Relationship Id="rId1" Type="http://schemas.openxmlformats.org/officeDocument/2006/relationships/vmlDrawing" Target="../drawings/vmlDrawing41.vml"/><Relationship Id="rId6" Type="http://schemas.openxmlformats.org/officeDocument/2006/relationships/tags" Target="../tags/tag128.xml"/><Relationship Id="rId11" Type="http://schemas.openxmlformats.org/officeDocument/2006/relationships/oleObject" Target="../embeddings/oleObject49.bin"/><Relationship Id="rId5" Type="http://schemas.openxmlformats.org/officeDocument/2006/relationships/tags" Target="../tags/tag127.xml"/><Relationship Id="rId10" Type="http://schemas.openxmlformats.org/officeDocument/2006/relationships/image" Target="../media/image1.emf"/><Relationship Id="rId4" Type="http://schemas.openxmlformats.org/officeDocument/2006/relationships/tags" Target="../tags/tag126.xml"/><Relationship Id="rId9" Type="http://schemas.openxmlformats.org/officeDocument/2006/relationships/oleObject" Target="../embeddings/oleObject48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oleObject" Target="../embeddings/oleObject53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42.vml"/><Relationship Id="rId6" Type="http://schemas.openxmlformats.org/officeDocument/2006/relationships/tags" Target="../tags/tag134.xml"/><Relationship Id="rId11" Type="http://schemas.openxmlformats.org/officeDocument/2006/relationships/oleObject" Target="../embeddings/oleObject52.bin"/><Relationship Id="rId5" Type="http://schemas.openxmlformats.org/officeDocument/2006/relationships/tags" Target="../tags/tag133.xml"/><Relationship Id="rId10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oleObject" Target="../embeddings/oleObject51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oleObject" Target="../embeddings/oleObject56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43.vml"/><Relationship Id="rId6" Type="http://schemas.openxmlformats.org/officeDocument/2006/relationships/tags" Target="../tags/tag140.xml"/><Relationship Id="rId11" Type="http://schemas.openxmlformats.org/officeDocument/2006/relationships/oleObject" Target="../embeddings/oleObject55.bin"/><Relationship Id="rId5" Type="http://schemas.openxmlformats.org/officeDocument/2006/relationships/tags" Target="../tags/tag139.xml"/><Relationship Id="rId10" Type="http://schemas.openxmlformats.org/officeDocument/2006/relationships/image" Target="../media/image1.emf"/><Relationship Id="rId4" Type="http://schemas.openxmlformats.org/officeDocument/2006/relationships/tags" Target="../tags/tag138.xml"/><Relationship Id="rId9" Type="http://schemas.openxmlformats.org/officeDocument/2006/relationships/oleObject" Target="../embeddings/oleObject54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oleObject" Target="../embeddings/oleObject59.bin"/><Relationship Id="rId2" Type="http://schemas.openxmlformats.org/officeDocument/2006/relationships/tags" Target="../tags/tag142.xml"/><Relationship Id="rId1" Type="http://schemas.openxmlformats.org/officeDocument/2006/relationships/vmlDrawing" Target="../drawings/vmlDrawing44.vml"/><Relationship Id="rId6" Type="http://schemas.openxmlformats.org/officeDocument/2006/relationships/tags" Target="../tags/tag146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145.xml"/><Relationship Id="rId10" Type="http://schemas.openxmlformats.org/officeDocument/2006/relationships/image" Target="../media/image1.emf"/><Relationship Id="rId4" Type="http://schemas.openxmlformats.org/officeDocument/2006/relationships/tags" Target="../tags/tag144.xml"/><Relationship Id="rId9" Type="http://schemas.openxmlformats.org/officeDocument/2006/relationships/oleObject" Target="../embeddings/oleObject5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oleObject" Target="../embeddings/oleObject62.bin"/><Relationship Id="rId2" Type="http://schemas.openxmlformats.org/officeDocument/2006/relationships/tags" Target="../tags/tag148.xml"/><Relationship Id="rId1" Type="http://schemas.openxmlformats.org/officeDocument/2006/relationships/vmlDrawing" Target="../drawings/vmlDrawing45.vml"/><Relationship Id="rId6" Type="http://schemas.openxmlformats.org/officeDocument/2006/relationships/tags" Target="../tags/tag152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151.xml"/><Relationship Id="rId10" Type="http://schemas.openxmlformats.org/officeDocument/2006/relationships/image" Target="../media/image1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60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oleObject" Target="../embeddings/oleObject65.bin"/><Relationship Id="rId2" Type="http://schemas.openxmlformats.org/officeDocument/2006/relationships/tags" Target="../tags/tag154.xml"/><Relationship Id="rId1" Type="http://schemas.openxmlformats.org/officeDocument/2006/relationships/vmlDrawing" Target="../drawings/vmlDrawing46.vml"/><Relationship Id="rId6" Type="http://schemas.openxmlformats.org/officeDocument/2006/relationships/tags" Target="../tags/tag158.xml"/><Relationship Id="rId11" Type="http://schemas.openxmlformats.org/officeDocument/2006/relationships/oleObject" Target="../embeddings/oleObject64.bin"/><Relationship Id="rId5" Type="http://schemas.openxmlformats.org/officeDocument/2006/relationships/tags" Target="../tags/tag157.xml"/><Relationship Id="rId10" Type="http://schemas.openxmlformats.org/officeDocument/2006/relationships/image" Target="../media/image1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63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oleObject" Target="../embeddings/oleObject68.bin"/><Relationship Id="rId2" Type="http://schemas.openxmlformats.org/officeDocument/2006/relationships/tags" Target="../tags/tag160.xml"/><Relationship Id="rId1" Type="http://schemas.openxmlformats.org/officeDocument/2006/relationships/vmlDrawing" Target="../drawings/vmlDrawing47.vml"/><Relationship Id="rId6" Type="http://schemas.openxmlformats.org/officeDocument/2006/relationships/tags" Target="../tags/tag164.xml"/><Relationship Id="rId11" Type="http://schemas.openxmlformats.org/officeDocument/2006/relationships/oleObject" Target="../embeddings/oleObject67.bin"/><Relationship Id="rId5" Type="http://schemas.openxmlformats.org/officeDocument/2006/relationships/tags" Target="../tags/tag163.xml"/><Relationship Id="rId10" Type="http://schemas.openxmlformats.org/officeDocument/2006/relationships/image" Target="../media/image1.emf"/><Relationship Id="rId4" Type="http://schemas.openxmlformats.org/officeDocument/2006/relationships/tags" Target="../tags/tag162.xml"/><Relationship Id="rId9" Type="http://schemas.openxmlformats.org/officeDocument/2006/relationships/oleObject" Target="../embeddings/oleObject66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oleObject" Target="../embeddings/oleObject71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48.vml"/><Relationship Id="rId6" Type="http://schemas.openxmlformats.org/officeDocument/2006/relationships/tags" Target="../tags/tag170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169.xml"/><Relationship Id="rId10" Type="http://schemas.openxmlformats.org/officeDocument/2006/relationships/image" Target="../media/image1.emf"/><Relationship Id="rId4" Type="http://schemas.openxmlformats.org/officeDocument/2006/relationships/tags" Target="../tags/tag168.xml"/><Relationship Id="rId9" Type="http://schemas.openxmlformats.org/officeDocument/2006/relationships/oleObject" Target="../embeddings/oleObject69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oleObject" Target="../embeddings/oleObject72.bin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172.xml"/><Relationship Id="rId16" Type="http://schemas.openxmlformats.org/officeDocument/2006/relationships/oleObject" Target="../embeddings/oleObject74.bin"/><Relationship Id="rId1" Type="http://schemas.openxmlformats.org/officeDocument/2006/relationships/vmlDrawing" Target="../drawings/vmlDrawing49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oleObject" Target="../embeddings/oleObject73.bin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oleObject" Target="../embeddings/oleObject77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50.vml"/><Relationship Id="rId6" Type="http://schemas.openxmlformats.org/officeDocument/2006/relationships/tags" Target="../tags/tag186.xml"/><Relationship Id="rId11" Type="http://schemas.openxmlformats.org/officeDocument/2006/relationships/oleObject" Target="../embeddings/oleObject76.bin"/><Relationship Id="rId5" Type="http://schemas.openxmlformats.org/officeDocument/2006/relationships/tags" Target="../tags/tag185.xml"/><Relationship Id="rId10" Type="http://schemas.openxmlformats.org/officeDocument/2006/relationships/image" Target="../media/image1.emf"/><Relationship Id="rId4" Type="http://schemas.openxmlformats.org/officeDocument/2006/relationships/tags" Target="../tags/tag184.xml"/><Relationship Id="rId9" Type="http://schemas.openxmlformats.org/officeDocument/2006/relationships/oleObject" Target="../embeddings/oleObject75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oleObject" Target="../embeddings/oleObject80.bin"/><Relationship Id="rId2" Type="http://schemas.openxmlformats.org/officeDocument/2006/relationships/tags" Target="../tags/tag18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79.bin"/><Relationship Id="rId5" Type="http://schemas.openxmlformats.org/officeDocument/2006/relationships/tags" Target="../tags/tag191.xml"/><Relationship Id="rId10" Type="http://schemas.openxmlformats.org/officeDocument/2006/relationships/image" Target="../media/image1.emf"/><Relationship Id="rId4" Type="http://schemas.openxmlformats.org/officeDocument/2006/relationships/tags" Target="../tags/tag190.xml"/><Relationship Id="rId9" Type="http://schemas.openxmlformats.org/officeDocument/2006/relationships/oleObject" Target="../embeddings/oleObject78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oleObject" Target="../embeddings/oleObject83.bin"/><Relationship Id="rId2" Type="http://schemas.openxmlformats.org/officeDocument/2006/relationships/tags" Target="../tags/tag194.xml"/><Relationship Id="rId1" Type="http://schemas.openxmlformats.org/officeDocument/2006/relationships/vmlDrawing" Target="../drawings/vmlDrawing52.vml"/><Relationship Id="rId6" Type="http://schemas.openxmlformats.org/officeDocument/2006/relationships/tags" Target="../tags/tag198.xml"/><Relationship Id="rId11" Type="http://schemas.openxmlformats.org/officeDocument/2006/relationships/oleObject" Target="../embeddings/oleObject82.bin"/><Relationship Id="rId5" Type="http://schemas.openxmlformats.org/officeDocument/2006/relationships/tags" Target="../tags/tag197.xml"/><Relationship Id="rId10" Type="http://schemas.openxmlformats.org/officeDocument/2006/relationships/image" Target="../media/image1.emf"/><Relationship Id="rId4" Type="http://schemas.openxmlformats.org/officeDocument/2006/relationships/tags" Target="../tags/tag196.xml"/><Relationship Id="rId9" Type="http://schemas.openxmlformats.org/officeDocument/2006/relationships/oleObject" Target="../embeddings/oleObject81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oleObject" Target="../embeddings/oleObject86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53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203.xml"/><Relationship Id="rId10" Type="http://schemas.openxmlformats.org/officeDocument/2006/relationships/image" Target="../media/image1.emf"/><Relationship Id="rId4" Type="http://schemas.openxmlformats.org/officeDocument/2006/relationships/tags" Target="../tags/tag202.xml"/><Relationship Id="rId9" Type="http://schemas.openxmlformats.org/officeDocument/2006/relationships/oleObject" Target="../embeddings/oleObject84.bin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oleObject" Target="../embeddings/oleObject89.bin"/><Relationship Id="rId2" Type="http://schemas.openxmlformats.org/officeDocument/2006/relationships/tags" Target="../tags/tag206.xml"/><Relationship Id="rId1" Type="http://schemas.openxmlformats.org/officeDocument/2006/relationships/vmlDrawing" Target="../drawings/vmlDrawing54.vml"/><Relationship Id="rId6" Type="http://schemas.openxmlformats.org/officeDocument/2006/relationships/tags" Target="../tags/tag210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209.xml"/><Relationship Id="rId10" Type="http://schemas.openxmlformats.org/officeDocument/2006/relationships/image" Target="../media/image1.emf"/><Relationship Id="rId4" Type="http://schemas.openxmlformats.org/officeDocument/2006/relationships/tags" Target="../tags/tag208.xml"/><Relationship Id="rId9" Type="http://schemas.openxmlformats.org/officeDocument/2006/relationships/oleObject" Target="../embeddings/oleObject8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141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1980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962D-4C40-44FD-A63F-39F870F9C9F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546199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0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5"/>
          <a:ext cx="1512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0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5"/>
                        <a:ext cx="1512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423334" y="181429"/>
            <a:ext cx="11345333" cy="75973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541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786" smtClean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86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429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" y="1295405"/>
            <a:ext cx="11474451" cy="3368675"/>
          </a:xfrm>
        </p:spPr>
        <p:txBody>
          <a:bodyPr/>
          <a:lstStyle>
            <a:lvl1pPr>
              <a:defRPr sz="2429"/>
            </a:lvl1pPr>
            <a:lvl2pPr marL="685717" indent="-228572">
              <a:buFont typeface="Arial" panose="020B0604020202020204" pitchFamily="34" charset="0"/>
              <a:buChar char="−"/>
              <a:defRPr sz="2000"/>
            </a:lvl2pPr>
            <a:lvl3pPr marL="1142861" indent="-228572">
              <a:buFont typeface="Wingdings" panose="05000000000000000000" pitchFamily="2" charset="2"/>
              <a:buChar char="§"/>
              <a:defRPr sz="1786"/>
            </a:lvl3pPr>
            <a:lvl4pPr marL="1600005" indent="-228572">
              <a:buFont typeface="Courier New" panose="02070309020205020404" pitchFamily="49" charset="0"/>
              <a:buChar char="o"/>
              <a:defRPr sz="1571"/>
            </a:lvl4pPr>
            <a:lvl5pPr marL="2057150" indent="-228572">
              <a:buFont typeface="Wingdings" panose="05000000000000000000" pitchFamily="2" charset="2"/>
              <a:buChar char="ü"/>
              <a:defRPr sz="15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9405" y="6481537"/>
            <a:ext cx="2742595" cy="365125"/>
          </a:xfrm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fld id="{015AD1C8-25F9-443D-950D-316AC156E0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01743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2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2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7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2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5" y="97875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70" y="1366720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1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7" y="6414636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9" y="6414636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74C5CD-E926-4F27-9964-5B17E8EFFB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8334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297847" y="1502457"/>
            <a:ext cx="11723309" cy="414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411239" y="1502456"/>
            <a:ext cx="8645072" cy="28212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9" y="1502290"/>
            <a:ext cx="8035009" cy="1882265"/>
          </a:xfrm>
        </p:spPr>
        <p:txBody>
          <a:bodyPr bIns="234000" anchor="b"/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4" y="1825625"/>
            <a:ext cx="11391900" cy="4351338"/>
          </a:xfrm>
          <a:prstGeom prst="rect">
            <a:avLst/>
          </a:prstGeom>
        </p:spPr>
        <p:txBody>
          <a:bodyPr/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08657" y="6356805"/>
            <a:ext cx="2970892" cy="365125"/>
          </a:xfrm>
        </p:spPr>
        <p:txBody>
          <a:bodyPr/>
          <a:lstStyle>
            <a:defPPr lvl="0">
              <a:defRPr lang="en-US"/>
            </a:defPPr>
            <a:lvl1pPr marL="0" lvl="0" algn="l" defTabSz="457209" rtl="0" eaLnBrk="1" fontAlgn="base" latinLnBrk="0" hangingPunct="1">
              <a:spcBef>
                <a:spcPct val="0"/>
              </a:spcBef>
              <a:spcAft>
                <a:spcPct val="0"/>
              </a:spcAft>
              <a:defRPr sz="1200" b="0" i="0" kern="1200">
                <a:solidFill>
                  <a:prstClr val="black">
                    <a:tint val="75000"/>
                  </a:prst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454" y="6356805"/>
            <a:ext cx="4457095" cy="365125"/>
          </a:xfrm>
        </p:spPr>
        <p:txBody>
          <a:bodyPr/>
          <a:lstStyle>
            <a:defPPr lvl="0">
              <a:defRPr lang="en-US"/>
            </a:defPPr>
            <a:lvl1pPr marL="0" lvl="0" algn="ctr" defTabSz="457209" rtl="0" eaLnBrk="1" fontAlgn="base" latinLnBrk="0" hangingPunct="1">
              <a:spcBef>
                <a:spcPct val="0"/>
              </a:spcBef>
              <a:spcAft>
                <a:spcPct val="0"/>
              </a:spcAft>
              <a:defRPr sz="1200" b="0" i="0" kern="1200">
                <a:solidFill>
                  <a:prstClr val="black">
                    <a:tint val="75000"/>
                  </a:prst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C0C39B8-4846-4635-874C-1BE8F17674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33791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E6554F2-7B3B-4AD7-AEC7-87ED1DDE427D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6DCEE84-9917-4200-966A-B35621664DB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7027673"/>
      </p:ext>
    </p:extLst>
  </p:cSld>
  <p:clrMapOvr>
    <a:masterClrMapping/>
  </p:clrMapOvr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87B2C00-ADBA-42BE-8403-8C84A70E4E41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B1B23A1-391C-4FC8-90C7-F536BEBEF1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5313542"/>
      </p:ext>
    </p:extLst>
  </p:cSld>
  <p:clrMapOvr>
    <a:masterClrMapping/>
  </p:clrMapOvr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0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EB4B862-A2B7-4E6A-9A94-34BA630C7BB9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40D7A61-F06D-4DA0-9171-D3AF5C9A47F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983146"/>
      </p:ext>
    </p:extLst>
  </p:cSld>
  <p:clrMapOvr>
    <a:masterClrMapping/>
  </p:clrMapOvr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25A1761-DAC5-4879-9E75-16419406CAC8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127D2A-F595-4E33-84E8-7CD03FF17F6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622308"/>
      </p:ext>
    </p:extLst>
  </p:cSld>
  <p:clrMapOvr>
    <a:masterClrMapping/>
  </p:clrMapOvr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FE230C7-9B97-4894-9697-F5585149277E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8489597-6363-43A9-BBC7-6FC1EAD6F8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586625"/>
      </p:ext>
    </p:extLst>
  </p:cSld>
  <p:clrMapOvr>
    <a:masterClrMapping/>
  </p:clrMapOvr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E05BD3E-2C2A-46B5-B730-3A284D60CDB2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0350B2-B754-4774-BD15-1C4B2749BC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91298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139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8954FEB-54C8-455E-879D-A2D71E32DF10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1292A82-BCCF-4E7C-BFD8-C25218EEAFD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7505425"/>
      </p:ext>
    </p:extLst>
  </p:cSld>
  <p:clrMapOvr>
    <a:masterClrMapping/>
  </p:clrMapOvr>
  <p:hf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1D3CD05-15B3-4F39-AD0A-29537174539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DDF9FCD-63C8-4615-953F-E60EEF29563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4326399"/>
      </p:ext>
    </p:extLst>
  </p:cSld>
  <p:clrMapOvr>
    <a:masterClrMapping/>
  </p:clrMapOvr>
  <p:hf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A68358C-E596-4181-87D9-9EFEA694B195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4028FB8-D7B9-42D4-8604-3850BEBE9C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716013"/>
      </p:ext>
    </p:extLst>
  </p:cSld>
  <p:clrMapOvr>
    <a:masterClrMapping/>
  </p:clrMapOvr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FF251B7-6E7F-4798-A713-722CDF85C98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DE569EE-E267-430C-8964-4BCC976C4AA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9342634"/>
      </p:ext>
    </p:extLst>
  </p:cSld>
  <p:clrMapOvr>
    <a:masterClrMapping/>
  </p:clrMapOvr>
  <p:hf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458E210-3924-43E9-B15D-C9B7E8F52299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B96ED80-09CF-4902-8228-76852D5569E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286371"/>
      </p:ext>
    </p:extLst>
  </p:cSld>
  <p:clrMapOvr>
    <a:masterClrMapping/>
  </p:clrMapOvr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Прямая соединительная линия 12"/>
          <p:cNvCxnSpPr/>
          <p:nvPr userDrawn="1"/>
        </p:nvCxnSpPr>
        <p:spPr>
          <a:xfrm flipH="1">
            <a:off x="526143" y="923018"/>
            <a:ext cx="11358941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9476" y="115662"/>
            <a:ext cx="840619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0" y="97870"/>
            <a:ext cx="9696473" cy="790489"/>
          </a:xfrm>
        </p:spPr>
        <p:txBody>
          <a:bodyPr/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65596" indent="-165596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68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9" indent="0" algn="ctr">
              <a:buNone/>
              <a:defRPr sz="1846"/>
            </a:lvl2pPr>
            <a:lvl3pPr marL="844100" indent="0" algn="ctr">
              <a:buNone/>
              <a:defRPr sz="1662"/>
            </a:lvl3pPr>
            <a:lvl4pPr marL="1266150" indent="0" algn="ctr">
              <a:buNone/>
              <a:defRPr sz="1477"/>
            </a:lvl4pPr>
            <a:lvl5pPr marL="1688199" indent="0" algn="ctr">
              <a:buNone/>
              <a:defRPr sz="1477"/>
            </a:lvl5pPr>
            <a:lvl6pPr marL="2110249" indent="0" algn="ctr">
              <a:buNone/>
              <a:defRPr sz="1477"/>
            </a:lvl6pPr>
            <a:lvl7pPr marL="2532299" indent="0" algn="ctr">
              <a:buNone/>
              <a:defRPr sz="1477"/>
            </a:lvl7pPr>
            <a:lvl8pPr marL="2954348" indent="0" algn="ctr">
              <a:buNone/>
              <a:defRPr sz="1477"/>
            </a:lvl8pPr>
            <a:lvl9pPr marL="3376398" indent="0" algn="ctr">
              <a:buNone/>
              <a:defRPr sz="1477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1108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/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4" y="4264356"/>
            <a:ext cx="2378689" cy="1848314"/>
          </a:xfrm>
        </p:spPr>
        <p:txBody>
          <a:bodyPr/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7" y="6415769"/>
            <a:ext cx="2744108" cy="365125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9" y="6415769"/>
            <a:ext cx="4115405" cy="365125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E4542BA-7431-4819-95C4-D331C33C767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066432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597" y="726190"/>
            <a:ext cx="10516809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DB7F05C-B75B-4219-8513-4EBD3CCB10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289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35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35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343706"/>
            <a:ext cx="2783416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5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6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7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8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1.2. Связанные отрас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" name="TextBox 17"/>
          <p:cNvSpPr txBox="1">
            <a:spLocks noChangeArrowheads="1"/>
          </p:cNvSpPr>
          <p:nvPr userDrawn="1"/>
        </p:nvSpPr>
        <p:spPr bwMode="auto">
          <a:xfrm>
            <a:off x="3282347" y="1482045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1. Топ</a:t>
            </a:r>
            <a:r>
              <a:rPr lang="en-US" sz="1000" b="1" smtClean="0">
                <a:solidFill>
                  <a:srgbClr val="FFFFFF"/>
                </a:solidFill>
              </a:rPr>
              <a:t>-5 </a:t>
            </a:r>
            <a:r>
              <a:rPr lang="ru-RU" sz="1000" b="1" smtClean="0">
                <a:solidFill>
                  <a:srgbClr val="FFFFFF"/>
                </a:solidFill>
              </a:rPr>
              <a:t>орг-ий </a:t>
            </a:r>
            <a:r>
              <a:rPr lang="en-GB" sz="1000" b="1" smtClean="0">
                <a:solidFill>
                  <a:srgbClr val="FFFFFF"/>
                </a:solidFill>
              </a:rPr>
              <a:t>(&gt;50 </a:t>
            </a:r>
            <a:r>
              <a:rPr lang="ru-RU" sz="1000" b="1" smtClean="0">
                <a:solidFill>
                  <a:srgbClr val="FFFFFF"/>
                </a:solidFill>
              </a:rPr>
              <a:t>млн р.)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2" name="TextBox 18"/>
          <p:cNvSpPr txBox="1">
            <a:spLocks noChangeArrowheads="1"/>
          </p:cNvSpPr>
          <p:nvPr userDrawn="1"/>
        </p:nvSpPr>
        <p:spPr bwMode="auto">
          <a:xfrm>
            <a:off x="3282347" y="2747509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2 Ключевые продукты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3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343706"/>
            <a:ext cx="2783417" cy="4388304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34" name="TextBox 20"/>
          <p:cNvSpPr txBox="1">
            <a:spLocks noChangeArrowheads="1"/>
          </p:cNvSpPr>
          <p:nvPr userDrawn="1"/>
        </p:nvSpPr>
        <p:spPr bwMode="auto">
          <a:xfrm>
            <a:off x="3282347" y="3697741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3. Ресурсы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5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065894"/>
            <a:ext cx="2783417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6" name="TextBox 3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3.1. Мировые тренд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1689554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Новые продукты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3.2. Российские тренд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(2017)</a:t>
            </a: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, млрд руб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2747509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(2017)</a:t>
            </a: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, тыс. ед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Выручка (2017), млрд руб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Природные ресурсы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2740706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Растущие рынк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3921125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Госполитика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4808991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Импортозамещение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трасли-поставщик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трасли-потребител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1482045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1. Поставщик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2740706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2. Потребите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3689804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4808991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4. Новые продукт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2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53573" y="5763760"/>
            <a:ext cx="2769809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7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29595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13833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8980716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065894"/>
            <a:ext cx="2783416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5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24152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6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085418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7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39914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8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8927800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83" y="107249"/>
            <a:ext cx="11311837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82691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03800" y="4099541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849" y="4099541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3795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5302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5307" y="1883427"/>
            <a:ext cx="2741789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530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3628" y="4099541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3628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67918" y="1690065"/>
            <a:ext cx="2741789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7918" y="2960133"/>
            <a:ext cx="2741789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67918" y="3920567"/>
            <a:ext cx="2741789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67918" y="4983224"/>
            <a:ext cx="2741789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524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7657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22789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67921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6905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3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3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137711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ECD514B-9DFF-4582-ACC2-A96984C4589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9356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20863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0296C00-D494-443E-88E0-9761194EFFF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602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9782B83-B051-4C4E-A36B-9511FF4974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61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E60F9D4-0DD9-4F96-AA7E-C378B1E9D9B1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01277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42704BC-DF24-4BD1-883A-BC9EF8D3A6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63140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5"/>
          <a:ext cx="1512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5"/>
                        <a:ext cx="1512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23334" y="181429"/>
            <a:ext cx="11345333" cy="75973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326578">
              <a:defRPr/>
            </a:pPr>
            <a:endParaRPr lang="ru-RU" sz="1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86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" y="1295402"/>
            <a:ext cx="11474451" cy="3368675"/>
          </a:xfrm>
        </p:spPr>
        <p:txBody>
          <a:bodyPr/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9405" y="6481537"/>
            <a:ext cx="2742595" cy="365125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2BE0734-F248-4B1C-AE97-B2ED826BBC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05338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297847" y="1502457"/>
            <a:ext cx="11723309" cy="414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411239" y="1502456"/>
            <a:ext cx="8645072" cy="28212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9" y="1502290"/>
            <a:ext cx="8035009" cy="1882265"/>
          </a:xfrm>
        </p:spPr>
        <p:txBody>
          <a:bodyPr bIns="234000" anchor="b"/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4" y="1825625"/>
            <a:ext cx="11391900" cy="4351338"/>
          </a:xfrm>
          <a:prstGeom prst="rect">
            <a:avLst/>
          </a:prstGeom>
        </p:spPr>
        <p:txBody>
          <a:bodyPr/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08657" y="6356805"/>
            <a:ext cx="2970892" cy="365125"/>
          </a:xfrm>
        </p:spPr>
        <p:txBody>
          <a:bodyPr/>
          <a:lstStyle>
            <a:defPPr lvl="0">
              <a:defRPr lang="en-US"/>
            </a:defPPr>
            <a:lvl1pPr marL="0" lvl="0" algn="l" defTabSz="457209" rtl="0" eaLnBrk="1" fontAlgn="base" latinLnBrk="0" hangingPunct="1">
              <a:spcBef>
                <a:spcPct val="0"/>
              </a:spcBef>
              <a:spcAft>
                <a:spcPct val="0"/>
              </a:spcAft>
              <a:defRPr sz="1200" b="0" i="0" kern="1200">
                <a:solidFill>
                  <a:prstClr val="black">
                    <a:tint val="75000"/>
                  </a:prst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454" y="6356805"/>
            <a:ext cx="4457095" cy="365125"/>
          </a:xfrm>
        </p:spPr>
        <p:txBody>
          <a:bodyPr/>
          <a:lstStyle>
            <a:defPPr lvl="0">
              <a:defRPr lang="en-US"/>
            </a:defPPr>
            <a:lvl1pPr marL="0" lvl="0" algn="ctr" defTabSz="457209" rtl="0" eaLnBrk="1" fontAlgn="base" latinLnBrk="0" hangingPunct="1">
              <a:spcBef>
                <a:spcPct val="0"/>
              </a:spcBef>
              <a:spcAft>
                <a:spcPct val="0"/>
              </a:spcAft>
              <a:defRPr sz="1200" b="0" i="0" kern="1200">
                <a:solidFill>
                  <a:prstClr val="black">
                    <a:tint val="75000"/>
                  </a:prst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C0C39B8-4846-4635-874C-1BE8F17674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3793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9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E6554F2-7B3B-4AD7-AEC7-87ED1DDE427D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6DCEE84-9917-4200-966A-B35621664DB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6356840"/>
      </p:ext>
    </p:extLst>
  </p:cSld>
  <p:clrMapOvr>
    <a:masterClrMapping/>
  </p:clrMapOvr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87B2C00-ADBA-42BE-8403-8C84A70E4E41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B1B23A1-391C-4FC8-90C7-F536BEBEF1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39423"/>
      </p:ext>
    </p:extLst>
  </p:cSld>
  <p:clrMapOvr>
    <a:masterClrMapping/>
  </p:clrMapOvr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EB4B862-A2B7-4E6A-9A94-34BA630C7BB9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40D7A61-F06D-4DA0-9171-D3AF5C9A47F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3142404"/>
      </p:ext>
    </p:extLst>
  </p:cSld>
  <p:clrMapOvr>
    <a:masterClrMapping/>
  </p:clrMapOvr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25A1761-DAC5-4879-9E75-16419406CAC8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127D2A-F595-4E33-84E8-7CD03FF17F6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32549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49125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0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FE230C7-9B97-4894-9697-F5585149277E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8489597-6363-43A9-BBC7-6FC1EAD6F8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9806927"/>
      </p:ext>
    </p:extLst>
  </p:cSld>
  <p:clrMapOvr>
    <a:masterClrMapping/>
  </p:clrMapOvr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E05BD3E-2C2A-46B5-B730-3A284D60CDB2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0350B2-B754-4774-BD15-1C4B2749BC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558051"/>
      </p:ext>
    </p:extLst>
  </p:cSld>
  <p:clrMapOvr>
    <a:masterClrMapping/>
  </p:clrMapOvr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8954FEB-54C8-455E-879D-A2D71E32DF10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1292A82-BCCF-4E7C-BFD8-C25218EEAFD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5887264"/>
      </p:ext>
    </p:extLst>
  </p:cSld>
  <p:clrMapOvr>
    <a:masterClrMapping/>
  </p:clrMapOvr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7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1D3CD05-15B3-4F39-AD0A-29537174539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DDF9FCD-63C8-4615-953F-E60EEF29563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1259048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A68358C-E596-4181-87D9-9EFEA694B195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4028FB8-D7B9-42D4-8604-3850BEBE9C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9994417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8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8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FF251B7-6E7F-4798-A713-722CDF85C98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DE569EE-E267-430C-8964-4BCC976C4AA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3974566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8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458E210-3924-43E9-B15D-C9B7E8F52299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B96ED80-09CF-4902-8228-76852D5569E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066479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8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8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Прямая соединительная линия 12"/>
          <p:cNvCxnSpPr/>
          <p:nvPr userDrawn="1"/>
        </p:nvCxnSpPr>
        <p:spPr>
          <a:xfrm flipH="1">
            <a:off x="526143" y="923018"/>
            <a:ext cx="11358941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9476" y="115662"/>
            <a:ext cx="840619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0" y="97870"/>
            <a:ext cx="9696473" cy="790489"/>
          </a:xfrm>
        </p:spPr>
        <p:txBody>
          <a:bodyPr/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65596" indent="-165596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68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9" indent="0" algn="ctr">
              <a:buNone/>
              <a:defRPr sz="1846"/>
            </a:lvl2pPr>
            <a:lvl3pPr marL="844100" indent="0" algn="ctr">
              <a:buNone/>
              <a:defRPr sz="1662"/>
            </a:lvl3pPr>
            <a:lvl4pPr marL="1266150" indent="0" algn="ctr">
              <a:buNone/>
              <a:defRPr sz="1477"/>
            </a:lvl4pPr>
            <a:lvl5pPr marL="1688199" indent="0" algn="ctr">
              <a:buNone/>
              <a:defRPr sz="1477"/>
            </a:lvl5pPr>
            <a:lvl6pPr marL="2110249" indent="0" algn="ctr">
              <a:buNone/>
              <a:defRPr sz="1477"/>
            </a:lvl6pPr>
            <a:lvl7pPr marL="2532299" indent="0" algn="ctr">
              <a:buNone/>
              <a:defRPr sz="1477"/>
            </a:lvl7pPr>
            <a:lvl8pPr marL="2954348" indent="0" algn="ctr">
              <a:buNone/>
              <a:defRPr sz="1477"/>
            </a:lvl8pPr>
            <a:lvl9pPr marL="3376398" indent="0" algn="ctr">
              <a:buNone/>
              <a:defRPr sz="1477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1108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/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4" y="4264356"/>
            <a:ext cx="2378689" cy="1848314"/>
          </a:xfrm>
        </p:spPr>
        <p:txBody>
          <a:bodyPr/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7" y="6415769"/>
            <a:ext cx="2744108" cy="365125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9" y="6415769"/>
            <a:ext cx="4115405" cy="365125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E4542BA-7431-4819-95C4-D331C33C767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38740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597" y="726190"/>
            <a:ext cx="10516809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DB7F05C-B75B-4219-8513-4EBD3CCB10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8960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03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343706"/>
            <a:ext cx="2783416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5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6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7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8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1.2. Связанные отрас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1" name="TextBox 17"/>
          <p:cNvSpPr txBox="1">
            <a:spLocks noChangeArrowheads="1"/>
          </p:cNvSpPr>
          <p:nvPr userDrawn="1"/>
        </p:nvSpPr>
        <p:spPr bwMode="auto">
          <a:xfrm>
            <a:off x="3282347" y="1482045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1. Топ</a:t>
            </a:r>
            <a:r>
              <a:rPr lang="en-US" sz="1000" b="1" smtClean="0">
                <a:solidFill>
                  <a:srgbClr val="FFFFFF"/>
                </a:solidFill>
              </a:rPr>
              <a:t>-5 </a:t>
            </a:r>
            <a:r>
              <a:rPr lang="ru-RU" sz="1000" b="1" smtClean="0">
                <a:solidFill>
                  <a:srgbClr val="FFFFFF"/>
                </a:solidFill>
              </a:rPr>
              <a:t>орг-ий </a:t>
            </a:r>
            <a:r>
              <a:rPr lang="en-GB" sz="1000" b="1" smtClean="0">
                <a:solidFill>
                  <a:srgbClr val="FFFFFF"/>
                </a:solidFill>
              </a:rPr>
              <a:t>(&gt;50 </a:t>
            </a:r>
            <a:r>
              <a:rPr lang="ru-RU" sz="1000" b="1" smtClean="0">
                <a:solidFill>
                  <a:srgbClr val="FFFFFF"/>
                </a:solidFill>
              </a:rPr>
              <a:t>млн р.)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2" name="TextBox 18"/>
          <p:cNvSpPr txBox="1">
            <a:spLocks noChangeArrowheads="1"/>
          </p:cNvSpPr>
          <p:nvPr userDrawn="1"/>
        </p:nvSpPr>
        <p:spPr bwMode="auto">
          <a:xfrm>
            <a:off x="3282347" y="2747509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2 Ключевые продукты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3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343706"/>
            <a:ext cx="2783417" cy="4388304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34" name="TextBox 20"/>
          <p:cNvSpPr txBox="1">
            <a:spLocks noChangeArrowheads="1"/>
          </p:cNvSpPr>
          <p:nvPr userDrawn="1"/>
        </p:nvSpPr>
        <p:spPr bwMode="auto">
          <a:xfrm>
            <a:off x="3282347" y="3697741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265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srgbClr val="FFFFFF"/>
                </a:solidFill>
              </a:rPr>
              <a:t>2.3. Ресурсы:</a:t>
            </a:r>
            <a:endParaRPr lang="en-GB" sz="1000" b="1" smtClean="0">
              <a:solidFill>
                <a:srgbClr val="FFFFFF"/>
              </a:solidFill>
            </a:endParaRPr>
          </a:p>
        </p:txBody>
      </p:sp>
      <p:sp>
        <p:nvSpPr>
          <p:cNvPr id="35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065894"/>
            <a:ext cx="2783417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6" name="TextBox 3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3.1. Мировые тренд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1689554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Новые продукты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3.2. Российские тренд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(2017)</a:t>
            </a: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, млрд руб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2747509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  <a:cs typeface="Arial" panose="020B0604020202020204" pitchFamily="34" charset="0"/>
              </a:rPr>
              <a:t> (2017)</a:t>
            </a: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, тыс. ед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Выручка (2017), млрд руб.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Природные ресурсы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2740706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Растущие рынк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3921125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Госполитика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4808991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Импортозамещение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трасли-поставщик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black"/>
                </a:solidFill>
                <a:cs typeface="Arial" panose="020B0604020202020204" pitchFamily="34" charset="0"/>
              </a:rPr>
              <a:t>Отрасли-потребители:</a:t>
            </a:r>
            <a:endParaRPr lang="en-GB" sz="10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1482045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1. Поставщик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2740706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2. Потребители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3689804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4808991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400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>
              <a:defRPr/>
            </a:pPr>
            <a:r>
              <a:rPr lang="ru-RU" sz="1000" dirty="0">
                <a:solidFill>
                  <a:prstClr val="white"/>
                </a:solidFill>
                <a:cs typeface="Arial" panose="020B0604020202020204" pitchFamily="34" charset="0"/>
              </a:rPr>
              <a:t>4.4. Новые продукты:</a:t>
            </a:r>
            <a:endParaRPr lang="en-GB" sz="100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2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53573" y="5763760"/>
            <a:ext cx="2769809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7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29595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13833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8980716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065894"/>
            <a:ext cx="2783416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5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24152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6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085418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7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39914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8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8927800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78">
              <a:defRPr/>
            </a:pPr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83" y="107249"/>
            <a:ext cx="11311837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82691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03800" y="4099541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849" y="4099541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3795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5302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5307" y="1883427"/>
            <a:ext cx="2741789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530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3628" y="4099541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3628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67918" y="1690065"/>
            <a:ext cx="2741789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7918" y="2960133"/>
            <a:ext cx="2741789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67918" y="3920567"/>
            <a:ext cx="2741789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67918" y="4983224"/>
            <a:ext cx="2741789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524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7657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22789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67921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74409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34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2777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9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9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57150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9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ECD514B-9DFF-4582-ACC2-A96984C4589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58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9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9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0296C00-D494-443E-88E0-9761194EFFF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445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9782B83-B051-4C4E-A36B-9511FF4974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8581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0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E60F9D4-0DD9-4F96-AA7E-C378B1E9D9B1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19054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0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91"/>
            <a:ext cx="10515600" cy="603435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42704BC-DF24-4BD1-883A-BC9EF8D3A6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4294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12" y="1135"/>
          <a:ext cx="1512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0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5"/>
                        <a:ext cx="1512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23334" y="181429"/>
            <a:ext cx="11345333" cy="75973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326578">
              <a:defRPr/>
            </a:pPr>
            <a:endParaRPr lang="ru-RU" sz="1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86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" y="1295402"/>
            <a:ext cx="11474451" cy="3368675"/>
          </a:xfrm>
        </p:spPr>
        <p:txBody>
          <a:bodyPr/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9405" y="6481537"/>
            <a:ext cx="2742595" cy="365125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2BE0734-F248-4B1C-AE97-B2ED826BBC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6108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54" indent="0" algn="ctr">
              <a:buNone/>
              <a:defRPr sz="2000"/>
            </a:lvl2pPr>
            <a:lvl3pPr marL="913711" indent="0" algn="ctr">
              <a:buNone/>
              <a:defRPr sz="1800"/>
            </a:lvl3pPr>
            <a:lvl4pPr marL="1370564" indent="0" algn="ctr">
              <a:buNone/>
              <a:defRPr sz="1600"/>
            </a:lvl4pPr>
            <a:lvl5pPr marL="1827421" indent="0" algn="ctr">
              <a:buNone/>
              <a:defRPr sz="1600"/>
            </a:lvl5pPr>
            <a:lvl6pPr marL="2284272" indent="0" algn="ctr">
              <a:buNone/>
              <a:defRPr sz="1600"/>
            </a:lvl6pPr>
            <a:lvl7pPr marL="2741126" indent="0" algn="ctr">
              <a:buNone/>
              <a:defRPr sz="1600"/>
            </a:lvl7pPr>
            <a:lvl8pPr marL="3197984" indent="0" algn="ctr">
              <a:buNone/>
              <a:defRPr sz="1600"/>
            </a:lvl8pPr>
            <a:lvl9pPr marL="365484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658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6219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5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4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79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4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8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56672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09758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6986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95196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31618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35212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54" indent="0">
              <a:buNone/>
              <a:defRPr sz="2800"/>
            </a:lvl2pPr>
            <a:lvl3pPr marL="913711" indent="0">
              <a:buNone/>
              <a:defRPr sz="2400"/>
            </a:lvl3pPr>
            <a:lvl4pPr marL="1370564" indent="0">
              <a:buNone/>
              <a:defRPr sz="2000"/>
            </a:lvl4pPr>
            <a:lvl5pPr marL="1827421" indent="0">
              <a:buNone/>
              <a:defRPr sz="2000"/>
            </a:lvl5pPr>
            <a:lvl6pPr marL="2284272" indent="0">
              <a:buNone/>
              <a:defRPr sz="2000"/>
            </a:lvl6pPr>
            <a:lvl7pPr marL="2741126" indent="0">
              <a:buNone/>
              <a:defRPr sz="2000"/>
            </a:lvl7pPr>
            <a:lvl8pPr marL="3197984" indent="0">
              <a:buNone/>
              <a:defRPr sz="2000"/>
            </a:lvl8pPr>
            <a:lvl9pPr marL="365484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5353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08571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85687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30793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2321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65719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5181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43832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5866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54014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64091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94737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34540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19608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08978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0" y="1502289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94"/>
            <a:ext cx="8035010" cy="1882265"/>
          </a:xfrm>
        </p:spPr>
        <p:txBody>
          <a:bodyPr bIns="198923" anchor="b">
            <a:normAutofit/>
          </a:bodyPr>
          <a:lstStyle>
            <a:lvl1pPr marL="488336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8" y="1825625"/>
            <a:ext cx="11391900" cy="4351338"/>
          </a:xfrm>
          <a:prstGeom prst="rect">
            <a:avLst/>
          </a:prstGeom>
        </p:spPr>
        <p:txBody>
          <a:bodyPr vert="horz" lIns="77733" tIns="38866" rIns="77733" bIns="38866" rtlCol="0">
            <a:normAutofit/>
          </a:bodyPr>
          <a:lstStyle>
            <a:lvl1pPr marL="272066" indent="-272066" algn="l" defTabSz="1088265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6198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60328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4460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8593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2724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855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985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5118" indent="-272066" algn="l" defTabSz="1088265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60"/>
            <a:ext cx="29718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defPPr lvl="0">
              <a:defRPr lang="en-US"/>
            </a:defPPr>
            <a:lvl1pPr marL="0" lvl="0" algn="l" defTabSz="544132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132" lvl="1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265" lvl="2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395" lvl="3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527" lvl="4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0659" lvl="5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4789" lvl="6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8921" lvl="7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3054" lvl="8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8" y="6356360"/>
            <a:ext cx="44577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defPPr lvl="0">
              <a:defRPr lang="en-US"/>
            </a:defPPr>
            <a:lvl1pPr marL="0" lvl="0" algn="ctr" defTabSz="544132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132" lvl="1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265" lvl="2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395" lvl="3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527" lvl="4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0659" lvl="5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4789" lvl="6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8921" lvl="7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3054" lvl="8" algn="l" defTabSz="54413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1101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80667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7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4132" indent="0" algn="ctr">
              <a:buNone/>
              <a:defRPr sz="2400"/>
            </a:lvl2pPr>
            <a:lvl3pPr marL="1088265" indent="0" algn="ctr">
              <a:buNone/>
              <a:defRPr sz="2100"/>
            </a:lvl3pPr>
            <a:lvl4pPr marL="1632395" indent="0" algn="ctr">
              <a:buNone/>
              <a:defRPr sz="1900"/>
            </a:lvl4pPr>
            <a:lvl5pPr marL="2176527" indent="0" algn="ctr">
              <a:buNone/>
              <a:defRPr sz="1900"/>
            </a:lvl5pPr>
            <a:lvl6pPr marL="2720659" indent="0" algn="ctr">
              <a:buNone/>
              <a:defRPr sz="1900"/>
            </a:lvl6pPr>
            <a:lvl7pPr marL="3264789" indent="0" algn="ctr">
              <a:buNone/>
              <a:defRPr sz="1900"/>
            </a:lvl7pPr>
            <a:lvl8pPr marL="3808921" indent="0" algn="ctr">
              <a:buNone/>
              <a:defRPr sz="1900"/>
            </a:lvl8pPr>
            <a:lvl9pPr marL="4353054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849706"/>
      </p:ext>
    </p:extLst>
  </p:cSld>
  <p:clrMapOvr>
    <a:masterClrMapping/>
  </p:clrMapOvr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400040"/>
      </p:ext>
    </p:extLst>
  </p:cSld>
  <p:clrMapOvr>
    <a:masterClrMapping/>
  </p:clrMapOvr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413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826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239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652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2065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478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892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305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852189"/>
      </p:ext>
    </p:extLst>
  </p:cSld>
  <p:clrMapOvr>
    <a:masterClrMapping/>
  </p:clrMapOvr>
  <p:hf hdr="0" ft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23704"/>
      </p:ext>
    </p:extLst>
  </p:cSld>
  <p:clrMapOvr>
    <a:masterClrMapping/>
  </p:clrMapOvr>
  <p:hf hdr="0" ft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8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132" indent="0">
              <a:buNone/>
              <a:defRPr sz="2400" b="1"/>
            </a:lvl2pPr>
            <a:lvl3pPr marL="1088265" indent="0">
              <a:buNone/>
              <a:defRPr sz="2100" b="1"/>
            </a:lvl3pPr>
            <a:lvl4pPr marL="1632395" indent="0">
              <a:buNone/>
              <a:defRPr sz="1900" b="1"/>
            </a:lvl4pPr>
            <a:lvl5pPr marL="2176527" indent="0">
              <a:buNone/>
              <a:defRPr sz="1900" b="1"/>
            </a:lvl5pPr>
            <a:lvl6pPr marL="2720659" indent="0">
              <a:buNone/>
              <a:defRPr sz="1900" b="1"/>
            </a:lvl6pPr>
            <a:lvl7pPr marL="3264789" indent="0">
              <a:buNone/>
              <a:defRPr sz="1900" b="1"/>
            </a:lvl7pPr>
            <a:lvl8pPr marL="3808921" indent="0">
              <a:buNone/>
              <a:defRPr sz="1900" b="1"/>
            </a:lvl8pPr>
            <a:lvl9pPr marL="4353054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132" indent="0">
              <a:buNone/>
              <a:defRPr sz="2400" b="1"/>
            </a:lvl2pPr>
            <a:lvl3pPr marL="1088265" indent="0">
              <a:buNone/>
              <a:defRPr sz="2100" b="1"/>
            </a:lvl3pPr>
            <a:lvl4pPr marL="1632395" indent="0">
              <a:buNone/>
              <a:defRPr sz="1900" b="1"/>
            </a:lvl4pPr>
            <a:lvl5pPr marL="2176527" indent="0">
              <a:buNone/>
              <a:defRPr sz="1900" b="1"/>
            </a:lvl5pPr>
            <a:lvl6pPr marL="2720659" indent="0">
              <a:buNone/>
              <a:defRPr sz="1900" b="1"/>
            </a:lvl6pPr>
            <a:lvl7pPr marL="3264789" indent="0">
              <a:buNone/>
              <a:defRPr sz="1900" b="1"/>
            </a:lvl7pPr>
            <a:lvl8pPr marL="3808921" indent="0">
              <a:buNone/>
              <a:defRPr sz="1900" b="1"/>
            </a:lvl8pPr>
            <a:lvl9pPr marL="4353054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214956"/>
      </p:ext>
    </p:extLst>
  </p:cSld>
  <p:clrMapOvr>
    <a:masterClrMapping/>
  </p:clrMapOvr>
  <p:hf hdr="0" ft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025117"/>
      </p:ext>
    </p:extLst>
  </p:cSld>
  <p:clrMapOvr>
    <a:masterClrMapping/>
  </p:clrMapOvr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8939"/>
      </p:ext>
    </p:extLst>
  </p:cSld>
  <p:clrMapOvr>
    <a:masterClrMapping/>
  </p:clrMapOvr>
  <p:hf hdr="0" ft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132" indent="0">
              <a:buNone/>
              <a:defRPr sz="1700"/>
            </a:lvl2pPr>
            <a:lvl3pPr marL="1088265" indent="0">
              <a:buNone/>
              <a:defRPr sz="1400"/>
            </a:lvl3pPr>
            <a:lvl4pPr marL="1632395" indent="0">
              <a:buNone/>
              <a:defRPr sz="1200"/>
            </a:lvl4pPr>
            <a:lvl5pPr marL="2176527" indent="0">
              <a:buNone/>
              <a:defRPr sz="1200"/>
            </a:lvl5pPr>
            <a:lvl6pPr marL="2720659" indent="0">
              <a:buNone/>
              <a:defRPr sz="1200"/>
            </a:lvl6pPr>
            <a:lvl7pPr marL="3264789" indent="0">
              <a:buNone/>
              <a:defRPr sz="1200"/>
            </a:lvl7pPr>
            <a:lvl8pPr marL="3808921" indent="0">
              <a:buNone/>
              <a:defRPr sz="1200"/>
            </a:lvl8pPr>
            <a:lvl9pPr marL="4353054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786096"/>
      </p:ext>
    </p:extLst>
  </p:cSld>
  <p:clrMapOvr>
    <a:masterClrMapping/>
  </p:clrMapOvr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4132" indent="0">
              <a:buNone/>
              <a:defRPr sz="3300"/>
            </a:lvl2pPr>
            <a:lvl3pPr marL="1088265" indent="0">
              <a:buNone/>
              <a:defRPr sz="2900"/>
            </a:lvl3pPr>
            <a:lvl4pPr marL="1632395" indent="0">
              <a:buNone/>
              <a:defRPr sz="2400"/>
            </a:lvl4pPr>
            <a:lvl5pPr marL="2176527" indent="0">
              <a:buNone/>
              <a:defRPr sz="2400"/>
            </a:lvl5pPr>
            <a:lvl6pPr marL="2720659" indent="0">
              <a:buNone/>
              <a:defRPr sz="2400"/>
            </a:lvl6pPr>
            <a:lvl7pPr marL="3264789" indent="0">
              <a:buNone/>
              <a:defRPr sz="2400"/>
            </a:lvl7pPr>
            <a:lvl8pPr marL="3808921" indent="0">
              <a:buNone/>
              <a:defRPr sz="2400"/>
            </a:lvl8pPr>
            <a:lvl9pPr marL="4353054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132" indent="0">
              <a:buNone/>
              <a:defRPr sz="1700"/>
            </a:lvl2pPr>
            <a:lvl3pPr marL="1088265" indent="0">
              <a:buNone/>
              <a:defRPr sz="1400"/>
            </a:lvl3pPr>
            <a:lvl4pPr marL="1632395" indent="0">
              <a:buNone/>
              <a:defRPr sz="1200"/>
            </a:lvl4pPr>
            <a:lvl5pPr marL="2176527" indent="0">
              <a:buNone/>
              <a:defRPr sz="1200"/>
            </a:lvl5pPr>
            <a:lvl6pPr marL="2720659" indent="0">
              <a:buNone/>
              <a:defRPr sz="1200"/>
            </a:lvl6pPr>
            <a:lvl7pPr marL="3264789" indent="0">
              <a:buNone/>
              <a:defRPr sz="1200"/>
            </a:lvl7pPr>
            <a:lvl8pPr marL="3808921" indent="0">
              <a:buNone/>
              <a:defRPr sz="1200"/>
            </a:lvl8pPr>
            <a:lvl9pPr marL="4353054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632903"/>
      </p:ext>
    </p:extLst>
  </p:cSld>
  <p:clrMapOvr>
    <a:masterClrMapping/>
  </p:clrMapOvr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9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351710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327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81662"/>
      </p:ext>
    </p:extLst>
  </p:cSld>
  <p:clrMapOvr>
    <a:masterClrMapping/>
  </p:clrMapOvr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82443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7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1088265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1088265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/>
          <a:p>
            <a:pPr defTabSz="388665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/>
          <a:p>
            <a:pPr defTabSz="388665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/>
          <a:p>
            <a:pPr defTabSz="388665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226" tIns="38866" rIns="0" bIns="38866" rtlCol="0" anchor="ctr"/>
          <a:lstStyle/>
          <a:p>
            <a:pPr algn="ctr" defTabSz="1088265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0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9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5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53" y="4099545"/>
            <a:ext cx="2728247" cy="688535"/>
          </a:xfrm>
          <a:prstGeom prst="rect">
            <a:avLst/>
          </a:prstGeom>
        </p:spPr>
        <p:txBody>
          <a:bodyPr lIns="45906" tIns="0" rIns="0" bIns="0"/>
          <a:lstStyle>
            <a:lvl1pPr marL="0" indent="428882"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8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8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9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65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5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8"/>
            <a:ext cx="2741790" cy="688535"/>
          </a:xfrm>
          <a:prstGeom prst="rect">
            <a:avLst/>
          </a:prstGeom>
        </p:spPr>
        <p:txBody>
          <a:bodyPr lIns="4590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1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6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65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9"/>
            <a:ext cx="2741790" cy="982695"/>
          </a:xfrm>
          <a:prstGeom prst="rect">
            <a:avLst/>
          </a:prstGeom>
          <a:noFill/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8"/>
            <a:ext cx="2741790" cy="688535"/>
          </a:xfrm>
          <a:prstGeom prst="rect">
            <a:avLst/>
          </a:prstGeom>
          <a:noFill/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3" y="57632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2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2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9" y="57632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388665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8" y="59097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61" y="59097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93" y="59097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06" tIns="0" rIns="0" bIns="0"/>
          <a:lstStyle>
            <a:lvl1pPr marL="0" indent="20971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5" y="59097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06" tIns="0" rIns="0" bIns="0"/>
          <a:lstStyle>
            <a:lvl1pPr marL="0" marR="0" indent="209717" algn="l" defTabSz="1088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717" algn="l" defTabSz="1088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33" tIns="38866" rIns="77733" bIns="38866" rtlCol="0" anchor="ctr"/>
          <a:lstStyle/>
          <a:p>
            <a:pPr algn="ctr" defTabSz="1088265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65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65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65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65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15245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6346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73571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3441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1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4546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665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1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665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02207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62124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4" y="180982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665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21"/>
            <a:ext cx="27432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6"/>
            <a:ext cx="11474450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6198" indent="-272066">
              <a:buFont typeface="Arial" panose="020B0604020202020204" pitchFamily="34" charset="0"/>
              <a:buChar char="−"/>
              <a:defRPr sz="2400"/>
            </a:lvl2pPr>
            <a:lvl3pPr marL="1360328" indent="-272066">
              <a:buFont typeface="Wingdings" panose="05000000000000000000" pitchFamily="2" charset="2"/>
              <a:buChar char="§"/>
              <a:defRPr sz="2100"/>
            </a:lvl3pPr>
            <a:lvl4pPr marL="1904460" indent="-272066">
              <a:buFont typeface="Courier New" panose="02070309020205020404" pitchFamily="49" charset="0"/>
              <a:buChar char="o"/>
              <a:defRPr sz="1900"/>
            </a:lvl4pPr>
            <a:lvl5pPr marL="2448593" indent="-272066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26080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239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8394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5325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57316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57459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03820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7195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76647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2805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05546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264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35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08630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66834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3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5992">
              <a:lnSpc>
                <a:spcPct val="90000"/>
              </a:lnSpc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32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3838">
              <a:lnSpc>
                <a:spcPct val="90000"/>
              </a:lnSpc>
              <a:defRPr/>
            </a:pPr>
            <a:endParaRPr lang="en-US" sz="37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32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8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9" y="115663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83" y="97885"/>
            <a:ext cx="9696473" cy="790489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83" y="1366729"/>
            <a:ext cx="4911860" cy="2743813"/>
          </a:xfrm>
        </p:spPr>
        <p:txBody>
          <a:bodyPr/>
          <a:lstStyle>
            <a:lvl1pPr marL="138861" indent="-138861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2" y="993603"/>
            <a:ext cx="4911861" cy="345146"/>
          </a:xfrm>
        </p:spPr>
        <p:txBody>
          <a:bodyPr tIns="75464" anchor="ctr">
            <a:noAutofit/>
          </a:bodyPr>
          <a:lstStyle>
            <a:lvl1pPr marL="0" indent="0" algn="l">
              <a:buNone/>
              <a:defRPr sz="11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3886" indent="0" algn="ctr">
              <a:buNone/>
              <a:defRPr sz="1600"/>
            </a:lvl2pPr>
            <a:lvl3pPr marL="707775" indent="0" algn="ctr">
              <a:buNone/>
              <a:defRPr sz="1400"/>
            </a:lvl3pPr>
            <a:lvl4pPr marL="1061687" indent="0" algn="ctr">
              <a:buNone/>
              <a:defRPr sz="1100"/>
            </a:lvl4pPr>
            <a:lvl5pPr marL="1415577" indent="0" algn="ctr">
              <a:buNone/>
              <a:defRPr sz="1100"/>
            </a:lvl5pPr>
            <a:lvl6pPr marL="1769471" indent="0" algn="ctr">
              <a:buNone/>
              <a:defRPr sz="1100"/>
            </a:lvl6pPr>
            <a:lvl7pPr marL="2123366" indent="0" algn="ctr">
              <a:buNone/>
              <a:defRPr sz="1100"/>
            </a:lvl7pPr>
            <a:lvl8pPr marL="2477259" indent="0" algn="ctr">
              <a:buNone/>
              <a:defRPr sz="1100"/>
            </a:lvl8pPr>
            <a:lvl9pPr marL="2831157" indent="0" algn="ctr">
              <a:buNone/>
              <a:defRPr sz="11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8" y="6414898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332" y="6414898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5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F177B-66C6-4B1A-9EDB-E442BFCA08EB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8723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77639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6700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4360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60425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7822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84334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0060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123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334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8826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80367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40210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466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7166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3007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9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05901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88028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46475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450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2769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3375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93899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274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8561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57810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37230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93891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50519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1387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4232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7016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92790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7365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93075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2357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3289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5366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Рисунок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297847" y="1502457"/>
            <a:ext cx="11723309" cy="414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411239" y="1502456"/>
            <a:ext cx="8645072" cy="28212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ru-RU" sz="1714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93"/>
            <a:ext cx="8035011" cy="1882265"/>
          </a:xfrm>
        </p:spPr>
        <p:txBody>
          <a:bodyPr bIns="233966" anchor="b"/>
          <a:lstStyle>
            <a:lvl1pPr marL="410268" indent="0" algn="l">
              <a:defRPr sz="1714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7" y="1825625"/>
            <a:ext cx="11391900" cy="4351338"/>
          </a:xfrm>
          <a:prstGeom prst="rect">
            <a:avLst/>
          </a:prstGeom>
        </p:spPr>
        <p:txBody>
          <a:bodyPr/>
          <a:lstStyle>
            <a:lvl1pPr marL="228572" indent="-228572" algn="l" defTabSz="914290" rtl="0" eaLnBrk="1" latinLnBrk="0" hangingPunct="1">
              <a:lnSpc>
                <a:spcPct val="90000"/>
              </a:lnSpc>
              <a:spcBef>
                <a:spcPts val="999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717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2861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005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150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295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9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82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8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08657" y="6356805"/>
            <a:ext cx="2970892" cy="36512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454" y="6356805"/>
            <a:ext cx="4457095" cy="36512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11F89B-1664-4781-980D-3303819E12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582896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4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4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59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29"/>
            </a:lvl1pPr>
            <a:lvl2pPr marL="457145" indent="0" algn="ctr">
              <a:buNone/>
              <a:defRPr sz="2000"/>
            </a:lvl2pPr>
            <a:lvl3pPr marL="914290" indent="0" algn="ctr">
              <a:buNone/>
              <a:defRPr sz="1786"/>
            </a:lvl3pPr>
            <a:lvl4pPr marL="1371433" indent="0" algn="ctr">
              <a:buNone/>
              <a:defRPr sz="1571"/>
            </a:lvl4pPr>
            <a:lvl5pPr marL="1828577" indent="0" algn="ctr">
              <a:buNone/>
              <a:defRPr sz="1571"/>
            </a:lvl5pPr>
            <a:lvl6pPr marL="2285722" indent="0" algn="ctr">
              <a:buNone/>
              <a:defRPr sz="1571"/>
            </a:lvl6pPr>
            <a:lvl7pPr marL="2742866" indent="0" algn="ctr">
              <a:buNone/>
              <a:defRPr sz="1571"/>
            </a:lvl7pPr>
            <a:lvl8pPr marL="3200010" indent="0" algn="ctr">
              <a:buNone/>
              <a:defRPr sz="1571"/>
            </a:lvl8pPr>
            <a:lvl9pPr marL="3657155" indent="0" algn="ctr">
              <a:buNone/>
              <a:defRPr sz="157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96EF0-FE7C-4C22-A659-6210585F5D70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9FA1A1-5671-41BC-82A0-A3EDEFD0198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4055544945"/>
      </p:ext>
    </p:extLst>
  </p:cSld>
  <p:clrMapOvr>
    <a:masterClrMapping/>
  </p:clrMapOvr>
  <p:hf hdr="0" ft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7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7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797B0-F21F-4AF0-9B41-EC41DEC1C6C3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9E36B8-4729-4B1D-BA1A-B96F5B2500D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982030433"/>
      </p:ext>
    </p:extLst>
  </p:cSld>
  <p:clrMapOvr>
    <a:masterClrMapping/>
  </p:clrMapOvr>
  <p:hf hdr="0" ftr="0" dt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9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9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59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0"/>
            <a:ext cx="10515600" cy="2852737"/>
          </a:xfrm>
        </p:spPr>
        <p:txBody>
          <a:bodyPr anchor="b"/>
          <a:lstStyle>
            <a:lvl1pPr>
              <a:defRPr sz="59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29">
                <a:solidFill>
                  <a:schemeClr val="tx1"/>
                </a:solidFill>
              </a:defRPr>
            </a:lvl1pPr>
            <a:lvl2pPr marL="4571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786">
                <a:solidFill>
                  <a:schemeClr val="tx1">
                    <a:tint val="75000"/>
                  </a:schemeClr>
                </a:solidFill>
              </a:defRPr>
            </a:lvl3pPr>
            <a:lvl4pPr marL="1371433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4pPr>
            <a:lvl5pPr marL="1828577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5pPr>
            <a:lvl6pPr marL="2285722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6pPr>
            <a:lvl7pPr marL="2742866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7pPr>
            <a:lvl8pPr marL="3200010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8pPr>
            <a:lvl9pPr marL="3657155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5891D-7894-4908-9AC2-C87D9E2EA546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60C29B-4A45-4D50-8282-6B03D81DED7C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89883592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11294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1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2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D4C690-5BCB-49F8-9DDD-43A4CB0E4FF7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8C1CB-303F-49C7-BBB5-3DF99465ECA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718561109"/>
      </p:ext>
    </p:extLst>
  </p:cSld>
  <p:clrMapOvr>
    <a:masterClrMapping/>
  </p:clrMapOvr>
  <p:hf hdr="0" ftr="0" dt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1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4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29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786" b="1"/>
            </a:lvl3pPr>
            <a:lvl4pPr marL="1371433" indent="0">
              <a:buNone/>
              <a:defRPr sz="1571" b="1"/>
            </a:lvl4pPr>
            <a:lvl5pPr marL="1828577" indent="0">
              <a:buNone/>
              <a:defRPr sz="1571" b="1"/>
            </a:lvl5pPr>
            <a:lvl6pPr marL="2285722" indent="0">
              <a:buNone/>
              <a:defRPr sz="1571" b="1"/>
            </a:lvl6pPr>
            <a:lvl7pPr marL="2742866" indent="0">
              <a:buNone/>
              <a:defRPr sz="1571" b="1"/>
            </a:lvl7pPr>
            <a:lvl8pPr marL="3200010" indent="0">
              <a:buNone/>
              <a:defRPr sz="1571" b="1"/>
            </a:lvl8pPr>
            <a:lvl9pPr marL="3657155" indent="0">
              <a:buNone/>
              <a:defRPr sz="157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29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786" b="1"/>
            </a:lvl3pPr>
            <a:lvl4pPr marL="1371433" indent="0">
              <a:buNone/>
              <a:defRPr sz="1571" b="1"/>
            </a:lvl4pPr>
            <a:lvl5pPr marL="1828577" indent="0">
              <a:buNone/>
              <a:defRPr sz="1571" b="1"/>
            </a:lvl5pPr>
            <a:lvl6pPr marL="2285722" indent="0">
              <a:buNone/>
              <a:defRPr sz="1571" b="1"/>
            </a:lvl6pPr>
            <a:lvl7pPr marL="2742866" indent="0">
              <a:buNone/>
              <a:defRPr sz="1571" b="1"/>
            </a:lvl7pPr>
            <a:lvl8pPr marL="3200010" indent="0">
              <a:buNone/>
              <a:defRPr sz="1571" b="1"/>
            </a:lvl8pPr>
            <a:lvl9pPr marL="3657155" indent="0">
              <a:buNone/>
              <a:defRPr sz="157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879A6-F5E7-4045-9964-F8928AF4DD87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833F5-9A08-49FE-B091-6E43A26FC8B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685211021"/>
      </p:ext>
    </p:extLst>
  </p:cSld>
  <p:clrMapOvr>
    <a:masterClrMapping/>
  </p:clrMapOvr>
  <p:hf hdr="0" ftr="0" dt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6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C091B5-D6DE-4720-8C32-D8CDF229229B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341EB2-FC23-40A3-AC62-C8F2A196FA7E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613872717"/>
      </p:ext>
    </p:extLst>
  </p:cSld>
  <p:clrMapOvr>
    <a:masterClrMapping/>
  </p:clrMapOvr>
  <p:hf hdr="0" ftr="0" dt="0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5FCE43-95BB-4DCC-BBD0-C4006205BF0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6F51B6-87F7-4249-8B1D-65C6B1C5C0F2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314097538"/>
      </p:ext>
    </p:extLst>
  </p:cSld>
  <p:clrMapOvr>
    <a:masterClrMapping/>
  </p:clrMapOvr>
  <p:hf hdr="0" ftr="0" dt="0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9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9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3214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457200"/>
            <a:ext cx="3932237" cy="1600200"/>
          </a:xfrm>
        </p:spPr>
        <p:txBody>
          <a:bodyPr anchor="b"/>
          <a:lstStyle>
            <a:lvl1pPr>
              <a:defRPr sz="321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14"/>
            </a:lvl1pPr>
            <a:lvl2pPr>
              <a:defRPr sz="2786"/>
            </a:lvl2pPr>
            <a:lvl3pPr>
              <a:defRPr sz="242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2" y="2057400"/>
            <a:ext cx="3932237" cy="3811588"/>
          </a:xfrm>
        </p:spPr>
        <p:txBody>
          <a:bodyPr/>
          <a:lstStyle>
            <a:lvl1pPr marL="0" indent="0">
              <a:buNone/>
              <a:defRPr sz="1571"/>
            </a:lvl1pPr>
            <a:lvl2pPr marL="457145" indent="0">
              <a:buNone/>
              <a:defRPr sz="1429"/>
            </a:lvl2pPr>
            <a:lvl3pPr marL="914290" indent="0">
              <a:buNone/>
              <a:defRPr sz="1143"/>
            </a:lvl3pPr>
            <a:lvl4pPr marL="1371433" indent="0">
              <a:buNone/>
              <a:defRPr sz="1000"/>
            </a:lvl4pPr>
            <a:lvl5pPr marL="1828577" indent="0">
              <a:buNone/>
              <a:defRPr sz="1000"/>
            </a:lvl5pPr>
            <a:lvl6pPr marL="2285722" indent="0">
              <a:buNone/>
              <a:defRPr sz="1000"/>
            </a:lvl6pPr>
            <a:lvl7pPr marL="2742866" indent="0">
              <a:buNone/>
              <a:defRPr sz="1000"/>
            </a:lvl7pPr>
            <a:lvl8pPr marL="3200010" indent="0">
              <a:buNone/>
              <a:defRPr sz="1000"/>
            </a:lvl8pPr>
            <a:lvl9pPr marL="365715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533631-5D40-43CB-A5DC-42C136C414D6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B1743E-2D91-4390-9214-31E44F424853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53133320"/>
      </p:ext>
    </p:extLst>
  </p:cSld>
  <p:clrMapOvr>
    <a:masterClrMapping/>
  </p:clrMapOvr>
  <p:hf hdr="0" ftr="0" dt="0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3214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457200"/>
            <a:ext cx="3932237" cy="1600200"/>
          </a:xfrm>
        </p:spPr>
        <p:txBody>
          <a:bodyPr anchor="b"/>
          <a:lstStyle>
            <a:lvl1pPr>
              <a:defRPr sz="321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14"/>
            </a:lvl1pPr>
            <a:lvl2pPr marL="457145" indent="0">
              <a:buNone/>
              <a:defRPr sz="2786"/>
            </a:lvl2pPr>
            <a:lvl3pPr marL="914290" indent="0">
              <a:buNone/>
              <a:defRPr sz="2429"/>
            </a:lvl3pPr>
            <a:lvl4pPr marL="1371433" indent="0">
              <a:buNone/>
              <a:defRPr sz="2000"/>
            </a:lvl4pPr>
            <a:lvl5pPr marL="1828577" indent="0">
              <a:buNone/>
              <a:defRPr sz="2000"/>
            </a:lvl5pPr>
            <a:lvl6pPr marL="2285722" indent="0">
              <a:buNone/>
              <a:defRPr sz="2000"/>
            </a:lvl6pPr>
            <a:lvl7pPr marL="2742866" indent="0">
              <a:buNone/>
              <a:defRPr sz="2000"/>
            </a:lvl7pPr>
            <a:lvl8pPr marL="3200010" indent="0">
              <a:buNone/>
              <a:defRPr sz="2000"/>
            </a:lvl8pPr>
            <a:lvl9pPr marL="3657155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2" y="2057400"/>
            <a:ext cx="3932237" cy="3811588"/>
          </a:xfrm>
        </p:spPr>
        <p:txBody>
          <a:bodyPr/>
          <a:lstStyle>
            <a:lvl1pPr marL="0" indent="0">
              <a:buNone/>
              <a:defRPr sz="1571"/>
            </a:lvl1pPr>
            <a:lvl2pPr marL="457145" indent="0">
              <a:buNone/>
              <a:defRPr sz="1429"/>
            </a:lvl2pPr>
            <a:lvl3pPr marL="914290" indent="0">
              <a:buNone/>
              <a:defRPr sz="1143"/>
            </a:lvl3pPr>
            <a:lvl4pPr marL="1371433" indent="0">
              <a:buNone/>
              <a:defRPr sz="1000"/>
            </a:lvl4pPr>
            <a:lvl5pPr marL="1828577" indent="0">
              <a:buNone/>
              <a:defRPr sz="1000"/>
            </a:lvl5pPr>
            <a:lvl6pPr marL="2285722" indent="0">
              <a:buNone/>
              <a:defRPr sz="1000"/>
            </a:lvl6pPr>
            <a:lvl7pPr marL="2742866" indent="0">
              <a:buNone/>
              <a:defRPr sz="1000"/>
            </a:lvl7pPr>
            <a:lvl8pPr marL="3200010" indent="0">
              <a:buNone/>
              <a:defRPr sz="1000"/>
            </a:lvl8pPr>
            <a:lvl9pPr marL="365715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BBA2E-4DCF-4B2F-8F65-D9CB333B8A73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7CCD8-123B-4FD4-B8D9-AC97D1DB0091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464105428"/>
      </p:ext>
    </p:extLst>
  </p:cSld>
  <p:clrMapOvr>
    <a:masterClrMapping/>
  </p:clrMapOvr>
  <p:hf hdr="0" ftr="0" dt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3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4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642DF-635D-4AF5-A5C4-12CAB865416E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3091A-CCCA-406D-AD34-402044E8FF4C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224876817"/>
      </p:ext>
    </p:extLst>
  </p:cSld>
  <p:clrMapOvr>
    <a:masterClrMapping/>
  </p:clrMapOvr>
  <p:hf hdr="0" ftr="0" dt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6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4574D-9CB2-4E38-9F41-D66CC6D04C15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AEC3B9-2476-4C12-8D50-4AAC4614EA7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623179513"/>
      </p:ext>
    </p:extLst>
  </p:cSld>
  <p:clrMapOvr>
    <a:masterClrMapping/>
  </p:clrMapOvr>
  <p:hf hdr="0" ft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8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8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597" y="726178"/>
            <a:ext cx="10516811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3C639-5BCC-4C7C-8AB8-D7BFAC7ADB09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339155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1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1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4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12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343706"/>
            <a:ext cx="2783416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7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9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Заделы региона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0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Тренды отрасл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3282347" y="1482045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1. Топ</a:t>
            </a:r>
            <a:r>
              <a:rPr lang="en-US" sz="1000" b="1" smtClean="0">
                <a:solidFill>
                  <a:prstClr val="white"/>
                </a:solidFill>
              </a:rPr>
              <a:t>-5 </a:t>
            </a:r>
            <a:r>
              <a:rPr lang="ru-RU" sz="1000" b="1" smtClean="0">
                <a:solidFill>
                  <a:prstClr val="white"/>
                </a:solidFill>
              </a:rPr>
              <a:t>орг-ий </a:t>
            </a:r>
            <a:r>
              <a:rPr lang="en-GB" sz="1000" b="1" smtClean="0">
                <a:solidFill>
                  <a:prstClr val="white"/>
                </a:solidFill>
              </a:rPr>
              <a:t>(&gt;50 </a:t>
            </a:r>
            <a:r>
              <a:rPr lang="ru-RU" sz="1000" b="1" smtClean="0">
                <a:solidFill>
                  <a:prstClr val="white"/>
                </a:solidFill>
              </a:rPr>
              <a:t>млн р.)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>
            <a:spLocks noChangeArrowheads="1"/>
          </p:cNvSpPr>
          <p:nvPr userDrawn="1"/>
        </p:nvSpPr>
        <p:spPr bwMode="auto">
          <a:xfrm>
            <a:off x="3282347" y="2747509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2 Ключевые продукты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343706"/>
            <a:ext cx="2783417" cy="4388304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 userDrawn="1"/>
        </p:nvSpPr>
        <p:spPr bwMode="auto">
          <a:xfrm>
            <a:off x="3282347" y="3697741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3. Ресурсы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065894"/>
            <a:ext cx="2783417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75" tIns="32652" rIns="0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1689554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2747509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2740706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3921125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4808991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1482045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2740706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3689804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4808991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8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53573" y="5763760"/>
            <a:ext cx="2769809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69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29595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0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13833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5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8980716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6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065894"/>
            <a:ext cx="2783416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Описание отрасл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7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324152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2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8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6085418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3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9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10"/>
            </p:custDataLst>
          </p:nvPr>
        </p:nvSpPr>
        <p:spPr>
          <a:xfrm>
            <a:off x="39914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1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80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11"/>
            </p:custDataLst>
          </p:nvPr>
        </p:nvSpPr>
        <p:spPr>
          <a:xfrm>
            <a:off x="8927800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4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86" y="107237"/>
            <a:ext cx="11311837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82691" y="2960138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03799" y="4099544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851" y="4099544"/>
            <a:ext cx="2728247" cy="688535"/>
          </a:xfrm>
          <a:prstGeom prst="rect">
            <a:avLst/>
          </a:prstGeom>
        </p:spPr>
        <p:txBody>
          <a:bodyPr lIns="53993" tIns="0" rIns="0" bIns="0"/>
          <a:lstStyle>
            <a:lvl1pPr marL="0" indent="360319"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3795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5302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5306" y="1883427"/>
            <a:ext cx="2741791" cy="789333"/>
          </a:xfrm>
          <a:prstGeom prst="rect">
            <a:avLst/>
          </a:prstGeom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5302" y="2960138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3628" y="4099544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3628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67918" y="1690068"/>
            <a:ext cx="2741791" cy="982695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7918" y="2960133"/>
            <a:ext cx="2741791" cy="708970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67918" y="3920567"/>
            <a:ext cx="2741791" cy="86750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67918" y="4983227"/>
            <a:ext cx="2741791" cy="688535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527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7659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22791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67925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176191" algn="l" defTabSz="914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04554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6360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3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3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16514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5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6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75A3F-B682-4799-B669-AB48B8FF0916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609631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8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8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67453B-89B1-4167-98EF-52A306ACF51F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678260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7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7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70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C2594-E7BF-4E31-9FD3-03200DF0BDEF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4849435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73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23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7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73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FC6CE-A820-446C-BC2C-8CCEE4E36E8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69909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962D-4C40-44FD-A63F-39F870F9C9F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512609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7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5"/>
          <a:ext cx="1512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8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5"/>
                        <a:ext cx="1512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423334" y="181429"/>
            <a:ext cx="11345333" cy="75973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541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786" smtClean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86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429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" y="1295405"/>
            <a:ext cx="11474451" cy="3368675"/>
          </a:xfrm>
        </p:spPr>
        <p:txBody>
          <a:bodyPr/>
          <a:lstStyle>
            <a:lvl1pPr>
              <a:defRPr sz="2429"/>
            </a:lvl1pPr>
            <a:lvl2pPr marL="685717" indent="-228572">
              <a:buFont typeface="Arial" panose="020B0604020202020204" pitchFamily="34" charset="0"/>
              <a:buChar char="−"/>
              <a:defRPr sz="2000"/>
            </a:lvl2pPr>
            <a:lvl3pPr marL="1142861" indent="-228572">
              <a:buFont typeface="Wingdings" panose="05000000000000000000" pitchFamily="2" charset="2"/>
              <a:buChar char="§"/>
              <a:defRPr sz="1786"/>
            </a:lvl3pPr>
            <a:lvl4pPr marL="1600005" indent="-228572">
              <a:buFont typeface="Courier New" panose="02070309020205020404" pitchFamily="49" charset="0"/>
              <a:buChar char="o"/>
              <a:defRPr sz="1571"/>
            </a:lvl4pPr>
            <a:lvl5pPr marL="2057150" indent="-228572">
              <a:buFont typeface="Wingdings" panose="05000000000000000000" pitchFamily="2" charset="2"/>
              <a:buChar char="ü"/>
              <a:defRPr sz="15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449405" y="6481537"/>
            <a:ext cx="2742595" cy="365125"/>
          </a:xfrm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fld id="{015AD1C8-25F9-443D-950D-316AC156E0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59776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8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8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80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7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2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5" y="97875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70" y="1366720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1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7" y="6414636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9" y="6414636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74C5CD-E926-4F27-9964-5B17E8EFFB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631571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16923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39102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82444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593742"/>
      </p:ext>
    </p:extLst>
  </p:cSld>
  <p:clrMapOvr>
    <a:masterClrMapping/>
  </p:clrMapOvr>
  <p:hf hdr="0" ftr="0" dt="0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559862"/>
      </p:ext>
    </p:extLst>
  </p:cSld>
  <p:clrMapOvr>
    <a:masterClrMapping/>
  </p:clrMapOvr>
  <p:hf hdr="0" ftr="0" dt="0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8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424866"/>
      </p:ext>
    </p:extLst>
  </p:cSld>
  <p:clrMapOvr>
    <a:masterClrMapping/>
  </p:clrMapOvr>
  <p:hf hdr="0" ftr="0" dt="0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12648"/>
      </p:ext>
    </p:extLst>
  </p:cSld>
  <p:clrMapOvr>
    <a:masterClrMapping/>
  </p:clrMapOvr>
  <p:hf hdr="0" ftr="0" dt="0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988294"/>
      </p:ext>
    </p:extLst>
  </p:cSld>
  <p:clrMapOvr>
    <a:masterClrMapping/>
  </p:clrMapOvr>
  <p:hf hdr="0" ftr="0" dt="0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443923"/>
      </p:ext>
    </p:extLst>
  </p:cSld>
  <p:clrMapOvr>
    <a:masterClrMapping/>
  </p:clrMapOvr>
  <p:hf hdr="0" ftr="0" dt="0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363562"/>
      </p:ext>
    </p:extLst>
  </p:cSld>
  <p:clrMapOvr>
    <a:masterClrMapping/>
  </p:clrMapOvr>
  <p:hf hdr="0" ft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9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418676"/>
      </p:ext>
    </p:extLst>
  </p:cSld>
  <p:clrMapOvr>
    <a:masterClrMapping/>
  </p:clrMapOvr>
  <p:hf hdr="0" ftr="0" dt="0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32699"/>
      </p:ext>
    </p:extLst>
  </p:cSld>
  <p:clrMapOvr>
    <a:masterClrMapping/>
  </p:clrMapOvr>
  <p:hf hdr="0" ftr="0" dt="0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79251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00064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504189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222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0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0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69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18861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1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481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176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914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488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635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4007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63428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3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30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30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5" y="921884"/>
            <a:ext cx="11357429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1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4" y="97874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0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0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6" y="6414635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8" y="6414635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0D0C3-3D8E-4D53-A2D1-2FE06343A39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75255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93848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257406"/>
      </p:ext>
    </p:extLst>
  </p:cSld>
  <p:clrMapOvr>
    <a:masterClrMapping/>
  </p:clrMapOvr>
  <p:hf hdr="0" ft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393138"/>
      </p:ext>
    </p:extLst>
  </p:cSld>
  <p:clrMapOvr>
    <a:masterClrMapping/>
  </p:clrMapOvr>
  <p:hf hdr="0" ft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3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044018"/>
      </p:ext>
    </p:extLst>
  </p:cSld>
  <p:clrMapOvr>
    <a:masterClrMapping/>
  </p:clrMapOvr>
  <p:hf hdr="0" ftr="0" dt="0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947557"/>
      </p:ext>
    </p:extLst>
  </p:cSld>
  <p:clrMapOvr>
    <a:masterClrMapping/>
  </p:clrMapOvr>
  <p:hf hdr="0" ftr="0" dt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666109"/>
      </p:ext>
    </p:extLst>
  </p:cSld>
  <p:clrMapOvr>
    <a:masterClrMapping/>
  </p:clrMapOvr>
  <p:hf hdr="0" ft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889376"/>
      </p:ext>
    </p:extLst>
  </p:cSld>
  <p:clrMapOvr>
    <a:masterClrMapping/>
  </p:clrMapOvr>
  <p:hf hdr="0" ftr="0" dt="0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376329"/>
      </p:ext>
    </p:extLst>
  </p:cSld>
  <p:clrMapOvr>
    <a:masterClrMapping/>
  </p:clrMapOvr>
  <p:hf hdr="0" ftr="0" dt="0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897826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72330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89804"/>
      </p:ext>
    </p:extLst>
  </p:cSld>
  <p:clrMapOvr>
    <a:masterClrMapping/>
  </p:clrMapOvr>
  <p:hf hdr="0" ftr="0" dt="0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307341"/>
      </p:ext>
    </p:extLst>
  </p:cSld>
  <p:clrMapOvr>
    <a:masterClrMapping/>
  </p:clrMapOvr>
  <p:hf hdr="0" ftr="0" dt="0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0320"/>
      </p:ext>
    </p:extLst>
  </p:cSld>
  <p:clrMapOvr>
    <a:masterClrMapping/>
  </p:clrMapOvr>
  <p:hf hdr="0" ftr="0" dt="0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921077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216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0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56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98675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407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6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517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291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9211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28500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314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9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7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9091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3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5" y="921884"/>
            <a:ext cx="11357429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1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4" y="97874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0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0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6" y="6414635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8" y="6414635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0D0C3-3D8E-4D53-A2D1-2FE06343A39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75126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47035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93864"/>
      </p:ext>
    </p:extLst>
  </p:cSld>
  <p:clrMapOvr>
    <a:masterClrMapping/>
  </p:clrMapOvr>
  <p:hf hdr="0" ftr="0" dt="0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991629"/>
      </p:ext>
    </p:extLst>
  </p:cSld>
  <p:clrMapOvr>
    <a:masterClrMapping/>
  </p:clrMapOvr>
  <p:hf hdr="0" ftr="0" dt="0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143449"/>
      </p:ext>
    </p:extLst>
  </p:cSld>
  <p:clrMapOvr>
    <a:masterClrMapping/>
  </p:clrMapOvr>
  <p:hf hdr="0" ftr="0" dt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156875"/>
      </p:ext>
    </p:extLst>
  </p:cSld>
  <p:clrMapOvr>
    <a:masterClrMapping/>
  </p:clrMapOvr>
  <p:hf hdr="0" ftr="0" dt="0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246036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50368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20796"/>
      </p:ext>
    </p:extLst>
  </p:cSld>
  <p:clrMapOvr>
    <a:masterClrMapping/>
  </p:clrMapOvr>
  <p:hf hdr="0" ftr="0" dt="0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333754"/>
      </p:ext>
    </p:extLst>
  </p:cSld>
  <p:clrMapOvr>
    <a:masterClrMapping/>
  </p:clrMapOvr>
  <p:hf hdr="0" ftr="0" dt="0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299199"/>
      </p:ext>
    </p:extLst>
  </p:cSld>
  <p:clrMapOvr>
    <a:masterClrMapping/>
  </p:clrMapOvr>
  <p:hf hdr="0" ftr="0" dt="0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876665"/>
      </p:ext>
    </p:extLst>
  </p:cSld>
  <p:clrMapOvr>
    <a:masterClrMapping/>
  </p:clrMapOvr>
  <p:hf hdr="0" ftr="0" dt="0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280208"/>
      </p:ext>
    </p:extLst>
  </p:cSld>
  <p:clrMapOvr>
    <a:masterClrMapping/>
  </p:clrMapOvr>
  <p:hf hdr="0" ftr="0" dt="0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552920"/>
      </p:ext>
    </p:extLst>
  </p:cSld>
  <p:clrMapOvr>
    <a:masterClrMapping/>
  </p:clrMapOvr>
  <p:hf hdr="0" ftr="0" dt="0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295408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179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0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44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1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9775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124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618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849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924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089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2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35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1328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6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6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5" y="921884"/>
            <a:ext cx="11357429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1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4" y="97874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0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0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6" y="6414635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8" y="6414635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0D0C3-3D8E-4D53-A2D1-2FE06343A39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17569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08232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253308"/>
      </p:ext>
    </p:extLst>
  </p:cSld>
  <p:clrMapOvr>
    <a:masterClrMapping/>
  </p:clrMapOvr>
  <p:hf hdr="0" ftr="0" dt="0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517968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59863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872821"/>
      </p:ext>
    </p:extLst>
  </p:cSld>
  <p:clrMapOvr>
    <a:masterClrMapping/>
  </p:clrMapOvr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462878"/>
      </p:ext>
    </p:extLst>
  </p:cSld>
  <p:clrMapOvr>
    <a:masterClrMapping/>
  </p:clrMapOvr>
  <p:hf hdr="0" ftr="0" dt="0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473986"/>
      </p:ext>
    </p:extLst>
  </p:cSld>
  <p:clrMapOvr>
    <a:masterClrMapping/>
  </p:clrMapOvr>
  <p:hf hdr="0" ftr="0" dt="0"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73759"/>
      </p:ext>
    </p:extLst>
  </p:cSld>
  <p:clrMapOvr>
    <a:masterClrMapping/>
  </p:clrMapOvr>
  <p:hf hdr="0" ftr="0" dt="0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629247"/>
      </p:ext>
    </p:extLst>
  </p:cSld>
  <p:clrMapOvr>
    <a:masterClrMapping/>
  </p:clrMapOvr>
  <p:hf hdr="0" ftr="0" dt="0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392449"/>
      </p:ext>
    </p:extLst>
  </p:cSld>
  <p:clrMapOvr>
    <a:masterClrMapping/>
  </p:clrMapOvr>
  <p:hf hdr="0" ftr="0" dt="0"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6740"/>
      </p:ext>
    </p:extLst>
  </p:cSld>
  <p:clrMapOvr>
    <a:masterClrMapping/>
  </p:clrMapOvr>
  <p:hf hdr="0" ftr="0" dt="0"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41506"/>
      </p:ext>
    </p:extLst>
  </p:cSld>
  <p:clrMapOvr>
    <a:masterClrMapping/>
  </p:clrMapOvr>
  <p:hf hdr="0" ftr="0" dt="0"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544676"/>
      </p:ext>
    </p:extLst>
  </p:cSld>
  <p:clrMapOvr>
    <a:masterClrMapping/>
  </p:clrMapOvr>
  <p:hf hdr="0" ftr="0" dt="0"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8055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8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5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410868" y="1502286"/>
            <a:ext cx="8035009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8" y="1502290"/>
            <a:ext cx="8035009" cy="1882265"/>
          </a:xfrm>
        </p:spPr>
        <p:txBody>
          <a:bodyPr vert="horz"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6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138648"/>
      </p:ext>
    </p:extLst>
  </p:cSld>
  <p:clrMapOvr>
    <a:masterClrMapping/>
  </p:clrMapOvr>
  <p:hf hdr="0" ftr="0" dt="0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787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0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32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199486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325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556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111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1536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353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0916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93">
              <a:lnSpc>
                <a:spcPct val="90000"/>
              </a:lnSpc>
              <a:defRPr/>
            </a:pPr>
            <a:endParaRPr lang="en-US" sz="3714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5" y="921884"/>
            <a:ext cx="11357429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8" y="115661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44" y="97874"/>
            <a:ext cx="9696473" cy="790489"/>
          </a:xfrm>
        </p:spPr>
        <p:txBody>
          <a:bodyPr/>
          <a:lstStyle>
            <a:lvl1pPr>
              <a:defRPr sz="1571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69" y="1366719"/>
            <a:ext cx="4911860" cy="2743813"/>
          </a:xfrm>
        </p:spPr>
        <p:txBody>
          <a:bodyPr/>
          <a:lstStyle>
            <a:lvl1pPr marL="139083" indent="-139083">
              <a:buClr>
                <a:srgbClr val="830051"/>
              </a:buClr>
              <a:defRPr sz="786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71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0" y="993603"/>
            <a:ext cx="4911861" cy="345146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071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478" indent="0" algn="ctr">
              <a:buNone/>
              <a:defRPr sz="1571"/>
            </a:lvl2pPr>
            <a:lvl3pPr marL="708958" indent="0" algn="ctr">
              <a:buNone/>
              <a:defRPr sz="1429"/>
            </a:lvl3pPr>
            <a:lvl4pPr marL="1063436" indent="0" algn="ctr">
              <a:buNone/>
              <a:defRPr sz="1143"/>
            </a:lvl4pPr>
            <a:lvl5pPr marL="1417914" indent="0" algn="ctr">
              <a:buNone/>
              <a:defRPr sz="1143"/>
            </a:lvl5pPr>
            <a:lvl6pPr marL="1772394" indent="0" algn="ctr">
              <a:buNone/>
              <a:defRPr sz="1143"/>
            </a:lvl6pPr>
            <a:lvl7pPr marL="2126874" indent="0" algn="ctr">
              <a:buNone/>
              <a:defRPr sz="1143"/>
            </a:lvl7pPr>
            <a:lvl8pPr marL="2481350" indent="0" algn="ctr">
              <a:buNone/>
              <a:defRPr sz="1143"/>
            </a:lvl8pPr>
            <a:lvl9pPr marL="2835830" indent="0" algn="ctr">
              <a:buNone/>
              <a:defRPr sz="1143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29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0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9" cy="1848314"/>
          </a:xfrm>
        </p:spPr>
        <p:txBody>
          <a:bodyPr/>
          <a:lstStyle>
            <a:lvl1pPr marL="0" indent="0">
              <a:buNone/>
              <a:defRPr sz="786"/>
            </a:lvl1pPr>
            <a:lvl2pPr>
              <a:defRPr sz="2214"/>
            </a:lvl2pPr>
            <a:lvl3pPr>
              <a:defRPr sz="1857"/>
            </a:lvl3pPr>
            <a:lvl4pPr>
              <a:defRPr sz="1571"/>
            </a:lvl4pPr>
            <a:lvl5pPr>
              <a:defRPr sz="1571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6" y="6414635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298" y="6414635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4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0D0C3-3D8E-4D53-A2D1-2FE06343A39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7399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08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605F190-EA9C-4D04-BEEE-450A2275F7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1F459717-87CB-4D08-AA2C-7C47A50517E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563016"/>
      </p:ext>
    </p:extLst>
  </p:cSld>
  <p:clrMapOvr>
    <a:masterClrMapping/>
  </p:clrMapOvr>
  <p:hf hdr="0" ftr="0" dt="0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001842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61248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1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22254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35526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81088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40767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10493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20344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0028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8705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32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1D24B10-D36A-4167-A645-A06B3AA266A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9EE53E5F-9613-47DF-9BAE-FDDEA3162C7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98279"/>
      </p:ext>
    </p:extLst>
  </p:cSld>
  <p:clrMapOvr>
    <a:masterClrMapping/>
  </p:clrMapOvr>
  <p:hf hdr="0" ftr="0" dt="0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5563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ru-RU" sz="1662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234000" anchor="b">
            <a:normAutofit/>
          </a:bodyPr>
          <a:lstStyle>
            <a:lvl1pPr marL="410326" indent="0" algn="l">
              <a:defRPr sz="1662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5" indent="-228605" algn="l" defTabSz="9144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14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23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32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41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50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5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69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78" indent="-228605" algn="l" defTabSz="91441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457209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457209" lvl="1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8" lvl="2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27" lvl="3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37" lvl="4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46" lvl="5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5" lvl="6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64" lvl="7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73" lvl="8" algn="l" defTabSz="4572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92787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237211"/>
      </p:ext>
    </p:extLst>
  </p:cSld>
  <p:clrMapOvr>
    <a:masterClrMapping/>
  </p:clrMapOvr>
  <p:hf hdr="0" ftr="0" dt="0"/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382376"/>
      </p:ext>
    </p:extLst>
  </p:cSld>
  <p:clrMapOvr>
    <a:masterClrMapping/>
  </p:clrMapOvr>
  <p:hf hdr="0" ftr="0" dt="0"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9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251111"/>
      </p:ext>
    </p:extLst>
  </p:cSld>
  <p:clrMapOvr>
    <a:masterClrMapping/>
  </p:clrMapOvr>
  <p:hf hdr="0" ftr="0" dt="0"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45496"/>
      </p:ext>
    </p:extLst>
  </p:cSld>
  <p:clrMapOvr>
    <a:masterClrMapping/>
  </p:clrMapOvr>
  <p:hf hdr="0" ftr="0" dt="0"/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24334"/>
      </p:ext>
    </p:extLst>
  </p:cSld>
  <p:clrMapOvr>
    <a:masterClrMapping/>
  </p:clrMapOvr>
  <p:hf hdr="0" ftr="0" dt="0"/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457966"/>
      </p:ext>
    </p:extLst>
  </p:cSld>
  <p:clrMapOvr>
    <a:masterClrMapping/>
  </p:clrMapOvr>
  <p:hf hdr="0" ftr="0" dt="0"/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611487"/>
      </p:ext>
    </p:extLst>
  </p:cSld>
  <p:clrMapOvr>
    <a:masterClrMapping/>
  </p:clrMapOvr>
  <p:hf hdr="0" ftr="0" dt="0"/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183230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56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8F773-5A83-4293-B130-C597DA5313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D79A872F-FEEB-4172-9127-FD3EE105CF1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60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77091"/>
      </p:ext>
    </p:extLst>
  </p:cSld>
  <p:clrMapOvr>
    <a:masterClrMapping/>
  </p:clrMapOvr>
  <p:hf hdr="0" ftr="0" dt="0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700887"/>
      </p:ext>
    </p:extLst>
  </p:cSld>
  <p:clrMapOvr>
    <a:masterClrMapping/>
  </p:clrMapOvr>
  <p:hf hdr="0" ftr="0" dt="0"/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61117"/>
      </p:ext>
    </p:extLst>
  </p:cSld>
  <p:clrMapOvr>
    <a:masterClrMapping/>
  </p:clrMapOvr>
  <p:hf hdr="0" ftr="0" dt="0"/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030761"/>
      </p:ext>
    </p:extLst>
  </p:cSld>
  <p:clrMapOvr>
    <a:masterClrMapping/>
  </p:clrMapOvr>
  <p:hf hdr="0" ftr="0" dt="0"/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588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67"/>
            <a:ext cx="11311837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=""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=""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=""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6147950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=""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=""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=""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=""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=""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=""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=""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=""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=""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=""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=""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=""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=""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=""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=""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=""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=""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=""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=""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=""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=""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=""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750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773879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2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10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2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533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3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334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=""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=""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=""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=""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070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0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D3AAD26-8B14-467D-8626-48633CA653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8F7B162A-024B-4976-AE40-4FDC9D0BB74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911920"/>
      </p:ext>
    </p:extLst>
  </p:cSld>
  <p:clrMapOvr>
    <a:masterClrMapping/>
  </p:clrMapOvr>
  <p:hf hdr="0" ftr="0" dt="0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9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619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3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100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6" y="97866"/>
            <a:ext cx="9696474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68" y="1366714"/>
            <a:ext cx="4911860" cy="2743813"/>
          </a:xfrm>
        </p:spPr>
        <p:txBody>
          <a:bodyPr>
            <a:normAutofit/>
          </a:bodyPr>
          <a:lstStyle>
            <a:lvl1pPr marL="165591" indent="-165591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416174"/>
            <a:ext cx="2743200" cy="365125"/>
          </a:xfrm>
        </p:spPr>
        <p:txBody>
          <a:bodyPr/>
          <a:lstStyle/>
          <a:p>
            <a:fld id="{EBD8AE8C-8028-479D-89A2-655AD33D89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16174"/>
            <a:ext cx="4114800" cy="365125"/>
          </a:xfr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5" y="6457422"/>
            <a:ext cx="629171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7" y="993603"/>
            <a:ext cx="4911861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37" indent="0" algn="ctr">
              <a:buNone/>
              <a:defRPr sz="1846"/>
            </a:lvl2pPr>
            <a:lvl3pPr marL="844073" indent="0" algn="ctr">
              <a:buNone/>
              <a:defRPr sz="1661"/>
            </a:lvl3pPr>
            <a:lvl4pPr marL="1266110" indent="0" algn="ctr">
              <a:buNone/>
              <a:defRPr sz="1477"/>
            </a:lvl4pPr>
            <a:lvl5pPr marL="1688147" indent="0" algn="ctr">
              <a:buNone/>
              <a:defRPr sz="1477"/>
            </a:lvl5pPr>
            <a:lvl6pPr marL="2110184" indent="0" algn="ctr">
              <a:buNone/>
              <a:defRPr sz="1477"/>
            </a:lvl6pPr>
            <a:lvl7pPr marL="2532220" indent="0" algn="ctr">
              <a:buNone/>
              <a:defRPr sz="1477"/>
            </a:lvl7pPr>
            <a:lvl8pPr marL="2954257" indent="0" algn="ctr">
              <a:buNone/>
              <a:defRPr sz="1477"/>
            </a:lvl8pPr>
            <a:lvl9pPr marL="3376293" indent="0" algn="ctr">
              <a:buNone/>
              <a:defRPr sz="1477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79" y="993604"/>
            <a:ext cx="6172201" cy="5119067"/>
          </a:xfrm>
        </p:spPr>
        <p:txBody>
          <a:bodyPr>
            <a:normAutofit/>
          </a:bodyPr>
          <a:lstStyle>
            <a:lvl1pPr marL="0" indent="0">
              <a:buNone/>
              <a:defRPr sz="1108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3" y="4264356"/>
            <a:ext cx="2378690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0" y="4264356"/>
            <a:ext cx="2378690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endParaRPr lang="en-US" dirty="0"/>
          </a:p>
        </p:txBody>
      </p:sp>
      <p:pic>
        <p:nvPicPr>
          <p:cNvPr id="16" name="Picture 9" descr="Картинка 1 из 968">
            <a:hlinkClick r:id="rId2"/>
            <a:extLst>
              <a:ext uri="{FF2B5EF4-FFF2-40B4-BE49-F238E27FC236}">
                <a16:creationId xmlns:a16="http://schemas.microsoft.com/office/drawing/2014/main" xmlns="" id="{6856A14E-1217-7640-8B2F-766BC2E06B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43913" y="0"/>
            <a:ext cx="841314" cy="8821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5551374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3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11049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04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48D557CB-3F6D-4D2D-AD01-E791B7B1C8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1" y="1681164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6"/>
            <a:ext cx="515778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3AEA1194-E99C-4FEB-B916-5F50F4DF486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98377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1323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228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A054D35B-F7A1-403E-9D80-7DFD6AEA38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1CD883F0-E7A4-488E-94E2-C54906A2B95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28858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174395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52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68F1145-E88B-4A58-A2A6-CEDB0A253B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0DD6AAE0-88C9-43DA-BA03-68CA1B73398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77641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76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26941386-0E4E-42FB-9572-A33F262B55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B452EB00-DF18-4186-B520-AF596AEB5FE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32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286944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300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C42423BC-D307-4C37-9D14-3ED8188815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7DAB294C-4E5C-4072-B4F9-94BFF27E148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120670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324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2D6017F-FCDB-4FCB-B147-4DE959DEBE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F38AC7B7-9C30-4F36-9D41-A41707C1D53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0630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4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70"/>
            <a:ext cx="9696474" cy="790489"/>
          </a:xfrm>
        </p:spPr>
        <p:txBody>
          <a:bodyPr vert="horz"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8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8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217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8743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72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F6E8EC3C-CBB0-4D63-8F86-C5BA2501016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8815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96"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58"/>
            <a:ext cx="11311837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969561B3-FAB2-4007-AA76-CB3C394BF358}"/>
              </a:ext>
            </a:extLst>
          </p:cNvPr>
          <p:cNvSpPr/>
          <p:nvPr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A4D07B5-566E-4515-A5A8-F79198E694C5}"/>
              </a:ext>
            </a:extLst>
          </p:cNvPr>
          <p:cNvSpPr/>
          <p:nvPr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BD7A9EE-EB0D-41F0-BCC1-E88FB072D8BE}"/>
              </a:ext>
            </a:extLst>
          </p:cNvPr>
          <p:cNvSpPr/>
          <p:nvPr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="" xmlns:a16="http://schemas.microsoft.com/office/drawing/2014/main" id="{28D66816-F49F-420A-80B8-A5B5C3BEE0E3}"/>
              </a:ext>
            </a:extLst>
          </p:cNvPr>
          <p:cNvSpPr/>
          <p:nvPr/>
        </p:nvSpPr>
        <p:spPr>
          <a:xfrm>
            <a:off x="3282694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="" xmlns:a16="http://schemas.microsoft.com/office/drawing/2014/main" id="{E07FA0D0-FDD0-4377-9DB0-F3CBAE70D70D}"/>
              </a:ext>
            </a:extLst>
          </p:cNvPr>
          <p:cNvSpPr/>
          <p:nvPr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F07C60D1-80B4-41DB-AA21-2CE360D541FC}"/>
              </a:ext>
            </a:extLst>
          </p:cNvPr>
          <p:cNvSpPr txBox="1"/>
          <p:nvPr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D9BDAA5-0D55-4965-BE80-611BCDD35943}"/>
              </a:ext>
            </a:extLst>
          </p:cNvPr>
          <p:cNvSpPr txBox="1"/>
          <p:nvPr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730E44A-F6BB-417D-9524-7882D765A5A3}"/>
              </a:ext>
            </a:extLst>
          </p:cNvPr>
          <p:cNvSpPr txBox="1"/>
          <p:nvPr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129677F-9541-4B58-A994-7789B4A2D903}"/>
              </a:ext>
            </a:extLst>
          </p:cNvPr>
          <p:cNvSpPr txBox="1"/>
          <p:nvPr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3A38C1-819E-442D-A981-F92095CDDB04}"/>
              </a:ext>
            </a:extLst>
          </p:cNvPr>
          <p:cNvSpPr/>
          <p:nvPr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B43D717-5750-4A50-B80D-EB8ED5949210}"/>
              </a:ext>
            </a:extLst>
          </p:cNvPr>
          <p:cNvSpPr txBox="1"/>
          <p:nvPr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="" xmlns:a16="http://schemas.microsoft.com/office/drawing/2014/main" id="{2CE9C76C-303A-4ECD-AB51-5A64A2D19385}"/>
              </a:ext>
            </a:extLst>
          </p:cNvPr>
          <p:cNvSpPr/>
          <p:nvPr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F8E3F3-6914-4270-A0AD-5B44F5087B00}"/>
              </a:ext>
            </a:extLst>
          </p:cNvPr>
          <p:cNvSpPr txBox="1"/>
          <p:nvPr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A82D6EF-2EED-4E6B-9790-BCCC79355A2C}"/>
              </a:ext>
            </a:extLst>
          </p:cNvPr>
          <p:cNvSpPr txBox="1"/>
          <p:nvPr/>
        </p:nvSpPr>
        <p:spPr>
          <a:xfrm>
            <a:off x="6147946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40FD6F12-9AEB-4391-8B05-E135DF74E141}"/>
              </a:ext>
            </a:extLst>
          </p:cNvPr>
          <p:cNvSpPr txBox="1"/>
          <p:nvPr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C0BB5A7-D2F0-4F40-9674-C0964C6B2F38}"/>
              </a:ext>
            </a:extLst>
          </p:cNvPr>
          <p:cNvSpPr txBox="1"/>
          <p:nvPr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9A42B93-B43E-4E6C-9BCB-19E1E4AC32F9}"/>
              </a:ext>
            </a:extLst>
          </p:cNvPr>
          <p:cNvSpPr txBox="1"/>
          <p:nvPr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91BFC6ED-6182-4E41-A5B6-EDDFF2D60AFD}"/>
              </a:ext>
            </a:extLst>
          </p:cNvPr>
          <p:cNvSpPr txBox="1"/>
          <p:nvPr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75D1950D-F894-4DB3-8841-B2BF9C42394E}"/>
              </a:ext>
            </a:extLst>
          </p:cNvPr>
          <p:cNvSpPr txBox="1"/>
          <p:nvPr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4C613A2-75F8-406E-92EC-012D7FA1560C}"/>
              </a:ext>
            </a:extLst>
          </p:cNvPr>
          <p:cNvSpPr txBox="1"/>
          <p:nvPr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1EE9890-4137-4E49-A9D1-85B3FFA0F215}"/>
              </a:ext>
            </a:extLst>
          </p:cNvPr>
          <p:cNvSpPr txBox="1"/>
          <p:nvPr/>
        </p:nvSpPr>
        <p:spPr>
          <a:xfrm>
            <a:off x="6147946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CF330712-B427-4B6B-981D-7018632ED74E}"/>
              </a:ext>
            </a:extLst>
          </p:cNvPr>
          <p:cNvSpPr txBox="1"/>
          <p:nvPr/>
        </p:nvSpPr>
        <p:spPr>
          <a:xfrm>
            <a:off x="6147951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0CF2BA5-FBF5-449A-86A7-041D489918C1}"/>
              </a:ext>
            </a:extLst>
          </p:cNvPr>
          <p:cNvSpPr txBox="1"/>
          <p:nvPr/>
        </p:nvSpPr>
        <p:spPr>
          <a:xfrm>
            <a:off x="6147951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="" xmlns:a16="http://schemas.microsoft.com/office/drawing/2014/main" id="{337C48FB-960A-4EA6-98B7-BF454790CC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269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="" xmlns:a16="http://schemas.microsoft.com/office/drawing/2014/main" id="{F356BF25-DB40-4FD5-9B76-B6878E2BD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03801" y="4099540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="" xmlns:a16="http://schemas.microsoft.com/office/drawing/2014/main" id="{E3096346-887A-4C5E-8691-99CA8DAB6D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8849" y="4099540"/>
            <a:ext cx="2728246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="" xmlns:a16="http://schemas.microsoft.com/office/drawing/2014/main" id="{7534DC53-34EB-430C-8959-3E43D84B78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3796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="" xmlns:a16="http://schemas.microsoft.com/office/drawing/2014/main" id="{7711F6CE-2240-452C-9703-9A60C82C00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5302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=""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7" y="1883426"/>
            <a:ext cx="2741789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=""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2E7FEB27-E06D-47F5-9333-9F056D8F0E48}"/>
              </a:ext>
            </a:extLst>
          </p:cNvPr>
          <p:cNvSpPr txBox="1"/>
          <p:nvPr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13825005-436C-4545-B4D0-8BC4E59424E8}"/>
              </a:ext>
            </a:extLst>
          </p:cNvPr>
          <p:cNvSpPr txBox="1"/>
          <p:nvPr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=""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9" y="4099540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=""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9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887BA7B-DADA-4596-BECC-AF78E98BF3BE}"/>
              </a:ext>
            </a:extLst>
          </p:cNvPr>
          <p:cNvSpPr txBox="1"/>
          <p:nvPr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5F63E86-66DE-4D60-B813-3603572FE3D1}"/>
              </a:ext>
            </a:extLst>
          </p:cNvPr>
          <p:cNvSpPr txBox="1"/>
          <p:nvPr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662233C-22F4-4829-B590-005DCCDC3D73}"/>
              </a:ext>
            </a:extLst>
          </p:cNvPr>
          <p:cNvSpPr txBox="1"/>
          <p:nvPr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F5AA4475-76ED-4B98-A801-B2D8B68A51C1}"/>
              </a:ext>
            </a:extLst>
          </p:cNvPr>
          <p:cNvSpPr txBox="1"/>
          <p:nvPr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=""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8" y="1690065"/>
            <a:ext cx="2741789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=""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8" y="2960133"/>
            <a:ext cx="2741789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=""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8" y="3920567"/>
            <a:ext cx="2741789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=""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8" y="4983224"/>
            <a:ext cx="2741789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="" xmlns:a16="http://schemas.microsoft.com/office/drawing/2014/main" id="{2F6412C7-FD96-4EFD-822B-771200689979}"/>
              </a:ext>
            </a:extLst>
          </p:cNvPr>
          <p:cNvSpPr/>
          <p:nvPr/>
        </p:nvSpPr>
        <p:spPr>
          <a:xfrm flipV="1">
            <a:off x="453628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="" xmlns:a16="http://schemas.microsoft.com/office/drawing/2014/main" id="{B5278AAB-3F83-4C84-9057-FA1E13AFC460}"/>
              </a:ext>
            </a:extLst>
          </p:cNvPr>
          <p:cNvSpPr/>
          <p:nvPr/>
        </p:nvSpPr>
        <p:spPr>
          <a:xfrm flipV="1">
            <a:off x="3296240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="" xmlns:a16="http://schemas.microsoft.com/office/drawing/2014/main" id="{A8F6E8FC-73F1-4F6A-B56B-78899C24163F}"/>
              </a:ext>
            </a:extLst>
          </p:cNvPr>
          <p:cNvSpPr/>
          <p:nvPr/>
        </p:nvSpPr>
        <p:spPr>
          <a:xfrm flipV="1">
            <a:off x="6138852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="" xmlns:a16="http://schemas.microsoft.com/office/drawing/2014/main" id="{FE4994C9-346B-42EC-B400-578C5F625FA2}"/>
              </a:ext>
            </a:extLst>
          </p:cNvPr>
          <p:cNvSpPr/>
          <p:nvPr/>
        </p:nvSpPr>
        <p:spPr>
          <a:xfrm flipV="1">
            <a:off x="8981464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=""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4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=""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=""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=""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="" xmlns:a16="http://schemas.microsoft.com/office/drawing/2014/main" id="{0ADF419E-11AE-42C5-9126-38E2537E8FE1}"/>
              </a:ext>
            </a:extLst>
          </p:cNvPr>
          <p:cNvSpPr/>
          <p:nvPr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3242054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="" xmlns:a16="http://schemas.microsoft.com/office/drawing/2014/main" id="{DB891B2D-3718-4948-8808-A94130933CA4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="" xmlns:a16="http://schemas.microsoft.com/office/drawing/2014/main" id="{DC3B6040-375A-4D26-999E-2B3E121E1E4A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="" xmlns:a16="http://schemas.microsoft.com/office/drawing/2014/main" id="{B906605B-6F75-4452-9574-D36A011BE190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="" xmlns:a16="http://schemas.microsoft.com/office/drawing/2014/main" id="{56AF3651-16AE-4761-BF68-7E3B2B137DA2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80" name="Flowchart: Off-page Connector 79">
            <a:extLst>
              <a:ext uri="{FF2B5EF4-FFF2-40B4-BE49-F238E27FC236}">
                <a16:creationId xmlns="" xmlns:a16="http://schemas.microsoft.com/office/drawing/2014/main" id="{2CF39D42-2C2C-4165-A392-19278A4D36EF}"/>
              </a:ext>
            </a:extLst>
          </p:cNvPr>
          <p:cNvSpPr/>
          <p:nvPr userDrawn="1"/>
        </p:nvSpPr>
        <p:spPr>
          <a:xfrm>
            <a:off x="3282694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81" name="Flowchart: Off-page Connector 80">
            <a:extLst>
              <a:ext uri="{FF2B5EF4-FFF2-40B4-BE49-F238E27FC236}">
                <a16:creationId xmlns="" xmlns:a16="http://schemas.microsoft.com/office/drawing/2014/main" id="{F6509471-1700-4F01-88CC-0F8E46A04D8A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FE4B5F2A-76E3-4BCD-8796-495B59D1ECD2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099D4D66-643D-482C-A743-77CB1F522A6C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69EE9400-C753-4F5A-A5D0-CFC286E9739E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F75A7DE0-C3F8-4548-8E1A-9FD89A37B3FB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61E8CD52-D1E9-42AA-AA47-848DEEE5995B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B6D22BC5-7A47-4C56-95B9-FD618F8466EA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88" name="Flowchart: Off-page Connector 87">
            <a:extLst>
              <a:ext uri="{FF2B5EF4-FFF2-40B4-BE49-F238E27FC236}">
                <a16:creationId xmlns="" xmlns:a16="http://schemas.microsoft.com/office/drawing/2014/main" id="{2FD10773-2A77-4E73-A537-BE6DB2D35627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7DFC25DA-4E3B-40C7-AC98-25F8348D6882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EED966C1-14E3-47D9-8804-04E0BD50278C}"/>
              </a:ext>
            </a:extLst>
          </p:cNvPr>
          <p:cNvSpPr txBox="1"/>
          <p:nvPr userDrawn="1"/>
        </p:nvSpPr>
        <p:spPr>
          <a:xfrm>
            <a:off x="6147946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DA3EED4A-95C0-4A4F-BA75-18FE421FD8B6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="" xmlns:a16="http://schemas.microsoft.com/office/drawing/2014/main" id="{1BB2E2B9-0B1A-4814-9274-D1D6B0142B7F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26745193-FCE7-4632-959B-46407C3D8837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="" xmlns:a16="http://schemas.microsoft.com/office/drawing/2014/main" id="{80D573A3-B000-4C66-BC44-E887F3228AEC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4E3AD613-BB7D-4AA2-95D0-1595233D7E77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7C815319-80F8-4E4B-8385-CBDB1374BC78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613A8F84-2E88-498A-828C-20E9E7B49885}"/>
              </a:ext>
            </a:extLst>
          </p:cNvPr>
          <p:cNvSpPr txBox="1"/>
          <p:nvPr userDrawn="1"/>
        </p:nvSpPr>
        <p:spPr>
          <a:xfrm>
            <a:off x="6147946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1EBCE2C3-2FCF-4C9B-942F-D06219F8187C}"/>
              </a:ext>
            </a:extLst>
          </p:cNvPr>
          <p:cNvSpPr txBox="1"/>
          <p:nvPr userDrawn="1"/>
        </p:nvSpPr>
        <p:spPr>
          <a:xfrm>
            <a:off x="6147951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25AA24CD-D28A-4832-9C14-1FD8493F1833}"/>
              </a:ext>
            </a:extLst>
          </p:cNvPr>
          <p:cNvSpPr txBox="1"/>
          <p:nvPr userDrawn="1"/>
        </p:nvSpPr>
        <p:spPr>
          <a:xfrm>
            <a:off x="6147951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0" name="Text Placeholder 37">
            <a:extLst>
              <a:ext uri="{FF2B5EF4-FFF2-40B4-BE49-F238E27FC236}">
                <a16:creationId xmlns="" xmlns:a16="http://schemas.microsoft.com/office/drawing/2014/main" id="{48CF47E8-4C56-47EF-8F51-0953064F103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269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101" name="Text Placeholder 37">
            <a:extLst>
              <a:ext uri="{FF2B5EF4-FFF2-40B4-BE49-F238E27FC236}">
                <a16:creationId xmlns="" xmlns:a16="http://schemas.microsoft.com/office/drawing/2014/main" id="{55B60073-ABF1-4C33-BBCF-D8FB59EA6C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03801" y="4099540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102" name="Text Placeholder 37">
            <a:extLst>
              <a:ext uri="{FF2B5EF4-FFF2-40B4-BE49-F238E27FC236}">
                <a16:creationId xmlns="" xmlns:a16="http://schemas.microsoft.com/office/drawing/2014/main" id="{386E1582-C9E9-4223-8C56-551AF6CB0B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38849" y="4099540"/>
            <a:ext cx="2728246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103" name="Text Placeholder 37">
            <a:extLst>
              <a:ext uri="{FF2B5EF4-FFF2-40B4-BE49-F238E27FC236}">
                <a16:creationId xmlns="" xmlns:a16="http://schemas.microsoft.com/office/drawing/2014/main" id="{67374BFB-7C1E-42A3-ACE8-50134D6794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3796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104" name="Text Placeholder 37">
            <a:extLst>
              <a:ext uri="{FF2B5EF4-FFF2-40B4-BE49-F238E27FC236}">
                <a16:creationId xmlns="" xmlns:a16="http://schemas.microsoft.com/office/drawing/2014/main" id="{84136EFB-6726-41D4-9F3F-A44662996C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5302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BE8FB069-56FF-475D-93D5-E29C793E36F9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AD5C8EF4-2293-49A9-937C-9F1CE15634A7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57037A94-F2B9-4F05-B53B-8E291C71A02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ADC54B0A-C62F-445E-870B-5E3C17DDE34E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="" xmlns:a16="http://schemas.microsoft.com/office/drawing/2014/main" id="{333F468F-48DB-40E2-87D8-3180B90CC672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="" xmlns:a16="http://schemas.microsoft.com/office/drawing/2014/main" id="{AFF63CAC-CD99-46AF-8875-D696C3895040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11" name="Isosceles Triangle 110">
            <a:extLst>
              <a:ext uri="{FF2B5EF4-FFF2-40B4-BE49-F238E27FC236}">
                <a16:creationId xmlns="" xmlns:a16="http://schemas.microsoft.com/office/drawing/2014/main" id="{FD871D65-2E49-43A4-9CC6-3970F4803B96}"/>
              </a:ext>
            </a:extLst>
          </p:cNvPr>
          <p:cNvSpPr/>
          <p:nvPr userDrawn="1"/>
        </p:nvSpPr>
        <p:spPr>
          <a:xfrm flipV="1">
            <a:off x="453628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12" name="Isosceles Triangle 111">
            <a:extLst>
              <a:ext uri="{FF2B5EF4-FFF2-40B4-BE49-F238E27FC236}">
                <a16:creationId xmlns="" xmlns:a16="http://schemas.microsoft.com/office/drawing/2014/main" id="{A5A5E22C-997B-42F1-AEE1-789440C13008}"/>
              </a:ext>
            </a:extLst>
          </p:cNvPr>
          <p:cNvSpPr/>
          <p:nvPr userDrawn="1"/>
        </p:nvSpPr>
        <p:spPr>
          <a:xfrm flipV="1">
            <a:off x="3296240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13" name="Isosceles Triangle 112">
            <a:extLst>
              <a:ext uri="{FF2B5EF4-FFF2-40B4-BE49-F238E27FC236}">
                <a16:creationId xmlns="" xmlns:a16="http://schemas.microsoft.com/office/drawing/2014/main" id="{E1DD1779-3345-4810-B0EE-00AF8A76ED23}"/>
              </a:ext>
            </a:extLst>
          </p:cNvPr>
          <p:cNvSpPr/>
          <p:nvPr userDrawn="1"/>
        </p:nvSpPr>
        <p:spPr>
          <a:xfrm flipV="1">
            <a:off x="6138852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14" name="Isosceles Triangle 113">
            <a:extLst>
              <a:ext uri="{FF2B5EF4-FFF2-40B4-BE49-F238E27FC236}">
                <a16:creationId xmlns="" xmlns:a16="http://schemas.microsoft.com/office/drawing/2014/main" id="{4C142DF8-5871-4961-9EE5-9B5B239D78E8}"/>
              </a:ext>
            </a:extLst>
          </p:cNvPr>
          <p:cNvSpPr/>
          <p:nvPr userDrawn="1"/>
        </p:nvSpPr>
        <p:spPr>
          <a:xfrm flipV="1">
            <a:off x="8981464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15" name="Flowchart: Off-page Connector 114">
            <a:extLst>
              <a:ext uri="{FF2B5EF4-FFF2-40B4-BE49-F238E27FC236}">
                <a16:creationId xmlns="" xmlns:a16="http://schemas.microsoft.com/office/drawing/2014/main" id="{357D26C7-5D56-4891-9386-692A9539341A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="" xmlns:a16="http://schemas.microsoft.com/office/drawing/2014/main" id="{99D15C05-EB32-417C-A89B-CF1E722D0577}"/>
              </a:ext>
            </a:extLst>
          </p:cNvPr>
          <p:cNvSpPr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3242054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="" xmlns:a16="http://schemas.microsoft.com/office/drawing/2014/main" id="{95220235-4F3F-48F4-A085-B7A9244CB25C}"/>
              </a:ext>
            </a:extLst>
          </p:cNvPr>
          <p:cNvSpPr>
            <a:spLocks noChangeAspect="1"/>
          </p:cNvSpPr>
          <p:nvPr userDrawn="1">
            <p:custDataLst>
              <p:tags r:id="rId10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="" xmlns:a16="http://schemas.microsoft.com/office/drawing/2014/main" id="{DCBBCDBB-A711-460E-AB95-1D3211759399}"/>
              </a:ext>
            </a:extLst>
          </p:cNvPr>
          <p:cNvSpPr>
            <a:spLocks noChangeAspect="1"/>
          </p:cNvSpPr>
          <p:nvPr userDrawn="1">
            <p:custDataLst>
              <p:tags r:id="rId11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="" xmlns:a16="http://schemas.microsoft.com/office/drawing/2014/main" id="{3CDA5D89-6F9F-4915-8BE7-1BD425E95DFD}"/>
              </a:ext>
            </a:extLst>
          </p:cNvPr>
          <p:cNvSpPr>
            <a:spLocks noChangeAspect="1"/>
          </p:cNvSpPr>
          <p:nvPr userDrawn="1">
            <p:custDataLst>
              <p:tags r:id="rId12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427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0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FC0395F-A924-434B-B87A-946106400D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2F6AF196-9172-4C21-ADFF-5CFCB1CD356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39465"/>
            <a:ext cx="12192000" cy="3818536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70"/>
            <a:ext cx="9696474" cy="790489"/>
          </a:xfrm>
        </p:spPr>
        <p:txBody>
          <a:bodyPr vert="horz"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217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8257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060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4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D0093F5B-D7D9-4DEB-BE80-D167CBE3902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505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0213DDDF-3F09-4845-9FFE-0C52DBF8DC1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79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981F60DB-DF77-4106-A2CE-9AC56EDC587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108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 hidden="1">
            <a:extLst>
              <a:ext uri="{FF2B5EF4-FFF2-40B4-BE49-F238E27FC236}">
                <a16:creationId xmlns=""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51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="" xmlns:a16="http://schemas.microsoft.com/office/drawing/2014/main" id="{C80A71C0-9EC2-4086-9D3D-CCF8A43614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6" hidden="1">
            <a:extLst>
              <a:ext uri="{FF2B5EF4-FFF2-40B4-BE49-F238E27FC236}">
                <a16:creationId xmlns="" xmlns:a16="http://schemas.microsoft.com/office/drawing/2014/main" id="{FD1B9208-52FE-4408-9225-598116DEE86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tlCol="0"/>
          <a:lstStyle>
            <a:lvl1pPr>
              <a:defRPr lang="en-GB" cap="all" baseline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8" hidden="1">
            <a:extLst>
              <a:ext uri="{FF2B5EF4-FFF2-40B4-BE49-F238E27FC236}">
                <a16:creationId xmlns="" xmlns:a16="http://schemas.microsoft.com/office/drawing/2014/main" id="{A3CD5B41-8106-4A13-99F0-D7DECC08C40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6" hidden="1">
            <a:extLst>
              <a:ext uri="{FF2B5EF4-FFF2-40B4-BE49-F238E27FC236}">
                <a16:creationId xmlns="" xmlns:a16="http://schemas.microsoft.com/office/drawing/2014/main" id="{F8C9B95E-16DE-4969-941D-E946E126630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434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540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31F52662-A7C1-4921-BC4A-4ADCA89431E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214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6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42333579-474F-4A43-BDD0-4C6DE9D26B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644405F-DE0C-4185-B568-DD1FB5DA5FC4}"/>
              </a:ext>
            </a:extLst>
          </p:cNvPr>
          <p:cNvSpPr txBox="1"/>
          <p:nvPr/>
        </p:nvSpPr>
        <p:spPr>
          <a:xfrm>
            <a:off x="423864" y="180978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vert="horz"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2"/>
            <a:ext cx="11474451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CE9BD1D8-2858-41FD-B5B3-6F3BE6773DC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17A53D2-2056-40D4-962A-18495EF2B4E9}"/>
              </a:ext>
            </a:extLst>
          </p:cNvPr>
          <p:cNvSpPr txBox="1"/>
          <p:nvPr userDrawn="1"/>
        </p:nvSpPr>
        <p:spPr>
          <a:xfrm>
            <a:off x="423864" y="180978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329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76">
          <p15:clr>
            <a:srgbClr val="FBAE40"/>
          </p15:clr>
        </p15:guide>
        <p15:guide id="3" pos="5585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pos="3840">
          <p15:clr>
            <a:srgbClr val="FBAE40"/>
          </p15:clr>
        </p15:guide>
        <p15:guide id="6" pos="235">
          <p15:clr>
            <a:srgbClr val="FBAE40"/>
          </p15:clr>
        </p15:guide>
        <p15:guide id="7" pos="7447">
          <p15:clr>
            <a:srgbClr val="FBAE40"/>
          </p15:clr>
        </p15:guide>
        <p15:guide id="8" orient="horz" pos="663">
          <p15:clr>
            <a:srgbClr val="FBAE40"/>
          </p15:clr>
        </p15:guide>
        <p15:guide id="9" orient="horz" pos="411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E5183F6-3C7E-44B3-B6D9-562EABFC4B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71"/>
            <a:ext cx="9696474" cy="790489"/>
          </a:xfrm>
        </p:spPr>
        <p:txBody>
          <a:bodyPr vert="horz">
            <a:normAutofit/>
          </a:bodyPr>
          <a:lstStyle>
            <a:lvl1pPr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73369" y="1366719"/>
            <a:ext cx="4911860" cy="2743813"/>
          </a:xfrm>
        </p:spPr>
        <p:txBody>
          <a:bodyPr>
            <a:normAutofit/>
          </a:bodyPr>
          <a:lstStyle>
            <a:lvl1pPr marL="165576" indent="-165576">
              <a:buClr>
                <a:srgbClr val="830051"/>
              </a:buClr>
              <a:defRPr sz="9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9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9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8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73369" y="993603"/>
            <a:ext cx="4911861" cy="345146"/>
          </a:xfrm>
        </p:spPr>
        <p:txBody>
          <a:bodyPr tIns="64278" anchor="ctr">
            <a:noAutofit/>
          </a:bodyPr>
          <a:lstStyle>
            <a:lvl1pPr marL="0" indent="0" algn="l">
              <a:buNone/>
              <a:defRPr sz="13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1998" indent="0" algn="ctr">
              <a:buNone/>
              <a:defRPr sz="1800"/>
            </a:lvl2pPr>
            <a:lvl3pPr marL="843999" indent="0" algn="ctr">
              <a:buNone/>
              <a:defRPr sz="1700"/>
            </a:lvl3pPr>
            <a:lvl4pPr marL="1265997" indent="0" algn="ctr">
              <a:buNone/>
              <a:defRPr sz="1500"/>
            </a:lvl4pPr>
            <a:lvl5pPr marL="1687996" indent="0" algn="ctr">
              <a:buNone/>
              <a:defRPr sz="1500"/>
            </a:lvl5pPr>
            <a:lvl6pPr marL="2109996" indent="0" algn="ctr">
              <a:buNone/>
              <a:defRPr sz="1500"/>
            </a:lvl6pPr>
            <a:lvl7pPr marL="2531995" indent="0" algn="ctr">
              <a:buNone/>
              <a:defRPr sz="1500"/>
            </a:lvl7pPr>
            <a:lvl8pPr marL="2953994" indent="0" algn="ctr">
              <a:buNone/>
              <a:defRPr sz="1500"/>
            </a:lvl8pPr>
            <a:lvl9pPr marL="3375993" indent="0" algn="ctr">
              <a:buNone/>
              <a:defRPr sz="1500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46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3" y="4264356"/>
            <a:ext cx="2378689" cy="1848314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5">
            <a:extLst>
              <a:ext uri="{FF2B5EF4-FFF2-40B4-BE49-F238E27FC236}">
                <a16:creationId xmlns="" xmlns:a16="http://schemas.microsoft.com/office/drawing/2014/main" id="{BD1866DD-AF13-47A0-AA0E-947CD963A6ED}"/>
              </a:ext>
            </a:extLst>
          </p:cNvPr>
          <p:cNvCxnSpPr/>
          <p:nvPr userDrawn="1"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217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9209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B8F4B7C8-9730-469E-B93B-398BEF8EE2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1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70"/>
            <a:ext cx="9696474" cy="790489"/>
          </a:xfrm>
        </p:spPr>
        <p:txBody>
          <a:bodyPr vert="horz"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65596" indent="-165596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8"/>
            <a:ext cx="2743200" cy="365125"/>
          </a:xfrm>
        </p:spPr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8"/>
            <a:ext cx="4114800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>
            <a:off x="525894" y="922946"/>
            <a:ext cx="11359334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217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777062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ользовательский макет">
  <p:cSld name="Пользовательский макет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282F8E43-3D12-4CB5-B7D9-EE5269337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63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Google Shape;130;p28"/>
          <p:cNvSpPr txBox="1">
            <a:spLocks noGrp="1"/>
          </p:cNvSpPr>
          <p:nvPr>
            <p:ph type="title"/>
          </p:nvPr>
        </p:nvSpPr>
        <p:spPr>
          <a:xfrm>
            <a:off x="837595" y="-174625"/>
            <a:ext cx="10510857" cy="1321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1" name="Google Shape;131;p28"/>
          <p:cNvSpPr txBox="1">
            <a:spLocks noGrp="1"/>
          </p:cNvSpPr>
          <p:nvPr>
            <p:ph type="sldNum" idx="12"/>
          </p:nvPr>
        </p:nvSpPr>
        <p:spPr>
          <a:xfrm>
            <a:off x="11256132" y="6457724"/>
            <a:ext cx="622857" cy="277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imes New Roman"/>
              <a:buNone/>
              <a:defRPr sz="1143" b="0" i="0" u="none" strike="noStrike" cap="none">
                <a:solidFill>
                  <a:srgbClr val="898989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369842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5_Заголовок и объект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6EA40BF-0B42-4950-9DE8-7D13D067A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Google Shape;71;p15"/>
          <p:cNvSpPr txBox="1">
            <a:spLocks noGrp="1"/>
          </p:cNvSpPr>
          <p:nvPr>
            <p:ph type="title"/>
          </p:nvPr>
        </p:nvSpPr>
        <p:spPr>
          <a:xfrm>
            <a:off x="505337" y="97867"/>
            <a:ext cx="9696571" cy="7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B5B5B"/>
              </a:buClr>
              <a:buSzPts val="2700"/>
              <a:buFont typeface="Helvetica Neue"/>
              <a:buNone/>
              <a:defRPr sz="1929" b="1">
                <a:solidFill>
                  <a:srgbClr val="5B5B5B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72" name="Google Shape;72;p15"/>
          <p:cNvSpPr txBox="1">
            <a:spLocks noGrp="1"/>
          </p:cNvSpPr>
          <p:nvPr>
            <p:ph type="body" idx="1"/>
          </p:nvPr>
        </p:nvSpPr>
        <p:spPr>
          <a:xfrm>
            <a:off x="6973368" y="1366716"/>
            <a:ext cx="4912000" cy="2743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t" anchorCtr="0">
            <a:noAutofit/>
          </a:bodyPr>
          <a:lstStyle>
            <a:lvl1pPr marL="326578" lvl="0" indent="-163289" algn="l" rtl="0">
              <a:lnSpc>
                <a:spcPct val="90000"/>
              </a:lnSpc>
              <a:spcBef>
                <a:spcPts val="929"/>
              </a:spcBef>
              <a:spcAft>
                <a:spcPts val="0"/>
              </a:spcAft>
              <a:buClr>
                <a:srgbClr val="830051"/>
              </a:buClr>
              <a:buSzPts val="1300"/>
              <a:buNone/>
              <a:defRPr sz="929">
                <a:solidFill>
                  <a:srgbClr val="464646"/>
                </a:solidFill>
              </a:defRPr>
            </a:lvl1pPr>
            <a:lvl2pPr marL="653156" lvl="1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1900"/>
              <a:buNone/>
              <a:defRPr sz="1357">
                <a:solidFill>
                  <a:srgbClr val="464646"/>
                </a:solidFill>
              </a:defRPr>
            </a:lvl2pPr>
            <a:lvl3pPr marL="979734" lvl="2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1900"/>
              <a:buNone/>
              <a:defRPr sz="1357">
                <a:solidFill>
                  <a:srgbClr val="464646"/>
                </a:solidFill>
              </a:defRPr>
            </a:lvl3pPr>
            <a:lvl4pPr marL="1306312" lvl="3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1900"/>
              <a:buNone/>
              <a:defRPr sz="1357">
                <a:solidFill>
                  <a:srgbClr val="464646"/>
                </a:solidFill>
              </a:defRPr>
            </a:lvl4pPr>
            <a:lvl5pPr marL="1632890" lvl="4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1900"/>
              <a:buNone/>
              <a:defRPr sz="1357">
                <a:solidFill>
                  <a:srgbClr val="464646"/>
                </a:solidFill>
              </a:defRPr>
            </a:lvl5pPr>
            <a:lvl6pPr marL="1959468" lvl="5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6pPr>
            <a:lvl7pPr marL="2286046" lvl="6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7pPr>
            <a:lvl8pPr marL="2612624" lvl="7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8pPr>
            <a:lvl9pPr marL="2939202" lvl="8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Google Shape;73;p15"/>
          <p:cNvSpPr txBox="1">
            <a:spLocks noGrp="1"/>
          </p:cNvSpPr>
          <p:nvPr>
            <p:ph type="dt" idx="10"/>
          </p:nvPr>
        </p:nvSpPr>
        <p:spPr>
          <a:xfrm>
            <a:off x="838201" y="6416175"/>
            <a:ext cx="2743143" cy="3651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4" name="Google Shape;74;p15"/>
          <p:cNvSpPr txBox="1">
            <a:spLocks noGrp="1"/>
          </p:cNvSpPr>
          <p:nvPr>
            <p:ph type="ftr" idx="11"/>
          </p:nvPr>
        </p:nvSpPr>
        <p:spPr>
          <a:xfrm>
            <a:off x="4038602" y="6416175"/>
            <a:ext cx="4114857" cy="3651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5" name="Google Shape;75;p15"/>
          <p:cNvSpPr txBox="1">
            <a:spLocks noGrp="1"/>
          </p:cNvSpPr>
          <p:nvPr>
            <p:ph type="sldNum" idx="12"/>
          </p:nvPr>
        </p:nvSpPr>
        <p:spPr>
          <a:xfrm>
            <a:off x="11256056" y="6457422"/>
            <a:ext cx="629143" cy="282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6" name="Google Shape;76;p15"/>
          <p:cNvCxnSpPr/>
          <p:nvPr/>
        </p:nvCxnSpPr>
        <p:spPr>
          <a:xfrm rot="10800000">
            <a:off x="525799" y="922946"/>
            <a:ext cx="11359429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" name="Google Shape;77;p15"/>
          <p:cNvSpPr txBox="1">
            <a:spLocks noGrp="1"/>
          </p:cNvSpPr>
          <p:nvPr>
            <p:ph type="subTitle" idx="2"/>
          </p:nvPr>
        </p:nvSpPr>
        <p:spPr>
          <a:xfrm>
            <a:off x="6973368" y="993603"/>
            <a:ext cx="4912000" cy="345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119550" rIns="121425" bIns="60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929"/>
              </a:spcBef>
              <a:spcAft>
                <a:spcPts val="0"/>
              </a:spcAft>
              <a:buClr>
                <a:srgbClr val="929292"/>
              </a:buClr>
              <a:buSzPts val="1900"/>
              <a:buNone/>
              <a:defRPr sz="1357" b="1">
                <a:solidFill>
                  <a:srgbClr val="929292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400"/>
              <a:buNone/>
              <a:defRPr sz="1714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100"/>
              <a:buNone/>
              <a:defRPr sz="15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100"/>
              <a:buNone/>
              <a:defRPr sz="15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5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5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5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5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body" idx="3"/>
          </p:nvPr>
        </p:nvSpPr>
        <p:spPr>
          <a:xfrm>
            <a:off x="515378" y="993603"/>
            <a:ext cx="6172286" cy="5119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t" anchorCtr="0">
            <a:noAutofit/>
          </a:bodyPr>
          <a:lstStyle>
            <a:lvl1pPr marL="326578" lvl="0" indent="-163289" algn="l" rtl="0">
              <a:lnSpc>
                <a:spcPct val="90000"/>
              </a:lnSpc>
              <a:spcBef>
                <a:spcPts val="929"/>
              </a:spcBef>
              <a:spcAft>
                <a:spcPts val="0"/>
              </a:spcAft>
              <a:buClr>
                <a:srgbClr val="464646"/>
              </a:buClr>
              <a:buSzPts val="1600"/>
              <a:buNone/>
              <a:defRPr sz="1143"/>
            </a:lvl1pPr>
            <a:lvl2pPr marL="653156" lvl="1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700"/>
              <a:buNone/>
              <a:defRPr sz="2643"/>
            </a:lvl2pPr>
            <a:lvl3pPr marL="979734" lvl="2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200"/>
              <a:buNone/>
              <a:defRPr sz="2286"/>
            </a:lvl3pPr>
            <a:lvl4pPr marL="1306312" lvl="3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4pPr>
            <a:lvl5pPr marL="1632890" lvl="4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5pPr>
            <a:lvl6pPr marL="1959468" lvl="5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6pPr>
            <a:lvl7pPr marL="2286046" lvl="6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7pPr>
            <a:lvl8pPr marL="2612624" lvl="7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8pPr>
            <a:lvl9pPr marL="2939202" lvl="8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Google Shape;79;p15"/>
          <p:cNvSpPr txBox="1">
            <a:spLocks noGrp="1"/>
          </p:cNvSpPr>
          <p:nvPr>
            <p:ph type="body" idx="4"/>
          </p:nvPr>
        </p:nvSpPr>
        <p:spPr>
          <a:xfrm>
            <a:off x="6982244" y="4264356"/>
            <a:ext cx="2378571" cy="184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t" anchorCtr="0">
            <a:noAutofit/>
          </a:bodyPr>
          <a:lstStyle>
            <a:lvl1pPr marL="326578" lvl="0" indent="-163289" algn="l" rtl="0">
              <a:lnSpc>
                <a:spcPct val="90000"/>
              </a:lnSpc>
              <a:spcBef>
                <a:spcPts val="929"/>
              </a:spcBef>
              <a:spcAft>
                <a:spcPts val="0"/>
              </a:spcAft>
              <a:buClr>
                <a:srgbClr val="464646"/>
              </a:buClr>
              <a:buSzPts val="1300"/>
              <a:buNone/>
              <a:defRPr sz="929"/>
            </a:lvl1pPr>
            <a:lvl2pPr marL="653156" lvl="1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700"/>
              <a:buNone/>
              <a:defRPr sz="2643"/>
            </a:lvl2pPr>
            <a:lvl3pPr marL="979734" lvl="2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200"/>
              <a:buNone/>
              <a:defRPr sz="2286"/>
            </a:lvl3pPr>
            <a:lvl4pPr marL="1306312" lvl="3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4pPr>
            <a:lvl5pPr marL="1632890" lvl="4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5pPr>
            <a:lvl6pPr marL="1959468" lvl="5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6pPr>
            <a:lvl7pPr marL="2286046" lvl="6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7pPr>
            <a:lvl8pPr marL="2612624" lvl="7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8pPr>
            <a:lvl9pPr marL="2939202" lvl="8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Google Shape;80;p15"/>
          <p:cNvSpPr txBox="1">
            <a:spLocks noGrp="1"/>
          </p:cNvSpPr>
          <p:nvPr>
            <p:ph type="body" idx="5"/>
          </p:nvPr>
        </p:nvSpPr>
        <p:spPr>
          <a:xfrm>
            <a:off x="9506540" y="4264356"/>
            <a:ext cx="2378571" cy="184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425" tIns="60700" rIns="121425" bIns="60700" anchor="t" anchorCtr="0">
            <a:noAutofit/>
          </a:bodyPr>
          <a:lstStyle>
            <a:lvl1pPr marL="326578" lvl="0" indent="-163289" algn="l" rtl="0">
              <a:lnSpc>
                <a:spcPct val="90000"/>
              </a:lnSpc>
              <a:spcBef>
                <a:spcPts val="929"/>
              </a:spcBef>
              <a:spcAft>
                <a:spcPts val="0"/>
              </a:spcAft>
              <a:buClr>
                <a:srgbClr val="464646"/>
              </a:buClr>
              <a:buSzPts val="1300"/>
              <a:buNone/>
              <a:defRPr sz="929"/>
            </a:lvl1pPr>
            <a:lvl2pPr marL="653156" lvl="1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700"/>
              <a:buNone/>
              <a:defRPr sz="2643"/>
            </a:lvl2pPr>
            <a:lvl3pPr marL="979734" lvl="2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3200"/>
              <a:buNone/>
              <a:defRPr sz="2286"/>
            </a:lvl3pPr>
            <a:lvl4pPr marL="1306312" lvl="3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4pPr>
            <a:lvl5pPr marL="1632890" lvl="4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64646"/>
              </a:buClr>
              <a:buSzPts val="2700"/>
              <a:buNone/>
              <a:defRPr sz="1929"/>
            </a:lvl5pPr>
            <a:lvl6pPr marL="1959468" lvl="5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6pPr>
            <a:lvl7pPr marL="2286046" lvl="6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7pPr>
            <a:lvl8pPr marL="2612624" lvl="7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8pPr>
            <a:lvl9pPr marL="2939202" lvl="8" indent="-163289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700"/>
              <a:buNone/>
              <a:defRPr sz="192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1" name="Google Shape;81;p15"/>
          <p:cNvCxnSpPr/>
          <p:nvPr/>
        </p:nvCxnSpPr>
        <p:spPr>
          <a:xfrm rot="10800000">
            <a:off x="525799" y="922946"/>
            <a:ext cx="11359429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217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026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999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8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372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708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104258"/>
            <a:ext cx="11311837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=""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3282694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Заделы региона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=""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Тренды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1. Топ</a:t>
            </a:r>
            <a:r>
              <a:rPr lang="en-US" sz="1000" b="1" dirty="0">
                <a:solidFill>
                  <a:prstClr val="white"/>
                </a:solidFill>
              </a:rPr>
              <a:t>-5 </a:t>
            </a:r>
            <a:r>
              <a:rPr lang="ru-RU" sz="1000" b="1" dirty="0">
                <a:solidFill>
                  <a:prstClr val="white"/>
                </a:solidFill>
              </a:rPr>
              <a:t>орг-ий </a:t>
            </a:r>
            <a:r>
              <a:rPr lang="en-GB" sz="1000" b="1" dirty="0">
                <a:solidFill>
                  <a:prstClr val="white"/>
                </a:solidFill>
              </a:rPr>
              <a:t>(&gt;50 </a:t>
            </a:r>
            <a:r>
              <a:rPr lang="ru-RU" sz="1000" b="1" dirty="0">
                <a:solidFill>
                  <a:prstClr val="white"/>
                </a:solidFill>
              </a:rPr>
              <a:t>млн р.)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2 Ключевые продукт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3282692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</a:rPr>
              <a:t>2.3. Ресурсы: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=""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0"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6147946" y="1690063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453628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453628" y="2747479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3305337" y="169006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6147946" y="2741225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6147951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=""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=""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801" y="4099540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=""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9" y="4099540"/>
            <a:ext cx="2728246" cy="688535"/>
          </a:xfrm>
          <a:prstGeom prst="rect">
            <a:avLst/>
          </a:prstGeom>
        </p:spPr>
        <p:txBody>
          <a:bodyPr lIns="54000" tIns="0" rIns="0" bIns="0"/>
          <a:lstStyle>
            <a:lvl1pPr marL="0" indent="360370"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=""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6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=""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2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=""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7" y="1883426"/>
            <a:ext cx="2741789" cy="789333"/>
          </a:xfrm>
          <a:prstGeom prst="rect">
            <a:avLst/>
          </a:prstGeom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=""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2" y="2960135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78"/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=""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9" y="4099540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=""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9" y="4983224"/>
            <a:ext cx="2741789" cy="688535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marL="0" lvl="0" indent="176216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8967917" y="14822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8967917" y="368973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8967917" y="4808704"/>
            <a:ext cx="2736000" cy="153888"/>
          </a:xfrm>
          <a:prstGeom prst="rect">
            <a:avLst/>
          </a:prstGeom>
          <a:solidFill>
            <a:schemeClr val="tx1"/>
          </a:solidFill>
        </p:spPr>
        <p:txBody>
          <a:bodyPr wrap="square" lIns="540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78"/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=""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8" y="1690065"/>
            <a:ext cx="2741789" cy="98269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=""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8" y="2960133"/>
            <a:ext cx="2741789" cy="70897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=""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8" y="3920567"/>
            <a:ext cx="2741789" cy="86750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=""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8" y="4983224"/>
            <a:ext cx="2741789" cy="688535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=""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453628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=""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3296240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=""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6138852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=""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8981464" y="5763278"/>
            <a:ext cx="2770454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endParaRPr lang="en-GB" sz="252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=""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4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=""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=""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76216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=""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5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marL="0" marR="0" lvl="0" indent="176216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=""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18">
              <a:defRPr/>
            </a:pPr>
            <a:r>
              <a:rPr lang="ru-RU" sz="1100" b="1" dirty="0">
                <a:solidFill>
                  <a:prstClr val="white"/>
                </a:solidFill>
              </a:rPr>
              <a:t>Описание отрасли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4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2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3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1</a:t>
            </a:r>
            <a:endParaRPr lang="en-GB" sz="11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26578"/>
            <a:r>
              <a:rPr lang="ru-RU" sz="1100" b="1" dirty="0">
                <a:solidFill>
                  <a:prstClr val="white"/>
                </a:solidFill>
              </a:rPr>
              <a:t>4</a:t>
            </a:r>
            <a:endParaRPr lang="en-GB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44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3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/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0036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822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123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8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947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 hidden="1">
            <a:extLst>
              <a:ext uri="{FF2B5EF4-FFF2-40B4-BE49-F238E27FC236}">
                <a16:creationId xmlns=""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82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=""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6" hidden="1">
            <a:extLst>
              <a:ext uri="{FF2B5EF4-FFF2-40B4-BE49-F238E27FC236}">
                <a16:creationId xmlns=""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601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5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0"/>
            <a:ext cx="10515600" cy="609416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581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423864" y="180978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26578"/>
            <a:endParaRPr lang="ru-RU" sz="18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vert="horz" lIns="0" tIns="0" rIns="0" bIns="0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2"/>
            <a:ext cx="11474451" cy="3368675"/>
          </a:xfrm>
        </p:spPr>
        <p:txBody>
          <a:bodyPr>
            <a:normAutofit/>
          </a:bodyPr>
          <a:lstStyle>
            <a:lvl1pPr>
              <a:defRPr sz="2400"/>
            </a:lvl1pPr>
            <a:lvl2pPr marL="685814" indent="-228605">
              <a:buFont typeface="Arial" panose="020B0604020202020204" pitchFamily="34" charset="0"/>
              <a:buChar char="−"/>
              <a:defRPr sz="2000"/>
            </a:lvl2pPr>
            <a:lvl3pPr marL="1143023" indent="-228605">
              <a:buFont typeface="Wingdings" panose="05000000000000000000" pitchFamily="2" charset="2"/>
              <a:buChar char="§"/>
              <a:defRPr sz="1800"/>
            </a:lvl3pPr>
            <a:lvl4pPr marL="1600232" indent="-228605">
              <a:buFont typeface="Courier New" panose="02070309020205020404" pitchFamily="49" charset="0"/>
              <a:buChar char="o"/>
              <a:defRPr sz="1600"/>
            </a:lvl4pPr>
            <a:lvl5pPr marL="2057441" indent="-228605">
              <a:buFont typeface="Wingdings" panose="05000000000000000000" pitchFamily="2" charset="2"/>
              <a:buChar char="ü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0661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5">
          <p15:clr>
            <a:srgbClr val="FBAE40"/>
          </p15:clr>
        </p15:guide>
        <p15:guide id="4" pos="7447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1032" y="168276"/>
            <a:ext cx="1484923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>
          <a:xfrm flipH="1">
            <a:off x="525587" y="922338"/>
            <a:ext cx="1135966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 flipH="1">
            <a:off x="525587" y="922338"/>
            <a:ext cx="1135966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37" y="97867"/>
            <a:ext cx="9696474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5" y="1247687"/>
            <a:ext cx="11181331" cy="5168486"/>
          </a:xfrm>
        </p:spPr>
        <p:txBody>
          <a:bodyPr>
            <a:normAutofit/>
          </a:bodyPr>
          <a:lstStyle>
            <a:lvl1pPr marL="165591" indent="-165591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416677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16677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110" y="6457952"/>
            <a:ext cx="629138" cy="282575"/>
          </a:xfrm>
        </p:spPr>
        <p:txBody>
          <a:bodyPr/>
          <a:lstStyle>
            <a:lvl1pPr>
              <a:defRPr/>
            </a:lvl1pPr>
          </a:lstStyle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33763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138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0807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872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3644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7230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4159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6499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462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4803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5478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832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1739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2696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4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4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Рисунок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297847" y="1502457"/>
            <a:ext cx="11723309" cy="414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411239" y="1502456"/>
            <a:ext cx="8645072" cy="282121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ru-RU" sz="1714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93"/>
            <a:ext cx="8035011" cy="1882265"/>
          </a:xfrm>
        </p:spPr>
        <p:txBody>
          <a:bodyPr bIns="233966" anchor="b"/>
          <a:lstStyle>
            <a:lvl1pPr marL="410268" indent="0" algn="l">
              <a:defRPr sz="1714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7" y="1825625"/>
            <a:ext cx="11391900" cy="4351338"/>
          </a:xfrm>
          <a:prstGeom prst="rect">
            <a:avLst/>
          </a:prstGeom>
        </p:spPr>
        <p:txBody>
          <a:bodyPr/>
          <a:lstStyle>
            <a:lvl1pPr marL="228572" indent="-228572" algn="l" defTabSz="914290" rtl="0" eaLnBrk="1" latinLnBrk="0" hangingPunct="1">
              <a:lnSpc>
                <a:spcPct val="90000"/>
              </a:lnSpc>
              <a:spcBef>
                <a:spcPts val="999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717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2861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005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150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43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295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9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82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8" indent="-228572" algn="l" defTabSz="91429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08657" y="6356805"/>
            <a:ext cx="2970892" cy="36512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454" y="6356805"/>
            <a:ext cx="4457095" cy="36512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11F89B-1664-4781-980D-3303819E12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271655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6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6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7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59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59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29"/>
            </a:lvl1pPr>
            <a:lvl2pPr marL="457145" indent="0" algn="ctr">
              <a:buNone/>
              <a:defRPr sz="2000"/>
            </a:lvl2pPr>
            <a:lvl3pPr marL="914290" indent="0" algn="ctr">
              <a:buNone/>
              <a:defRPr sz="1786"/>
            </a:lvl3pPr>
            <a:lvl4pPr marL="1371433" indent="0" algn="ctr">
              <a:buNone/>
              <a:defRPr sz="1571"/>
            </a:lvl4pPr>
            <a:lvl5pPr marL="1828577" indent="0" algn="ctr">
              <a:buNone/>
              <a:defRPr sz="1571"/>
            </a:lvl5pPr>
            <a:lvl6pPr marL="2285722" indent="0" algn="ctr">
              <a:buNone/>
              <a:defRPr sz="1571"/>
            </a:lvl6pPr>
            <a:lvl7pPr marL="2742866" indent="0" algn="ctr">
              <a:buNone/>
              <a:defRPr sz="1571"/>
            </a:lvl7pPr>
            <a:lvl8pPr marL="3200010" indent="0" algn="ctr">
              <a:buNone/>
              <a:defRPr sz="1571"/>
            </a:lvl8pPr>
            <a:lvl9pPr marL="3657155" indent="0" algn="ctr">
              <a:buNone/>
              <a:defRPr sz="157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96EF0-FE7C-4C22-A659-6210585F5D70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9FA1A1-5671-41BC-82A0-A3EDEFD0198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414158643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9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9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797B0-F21F-4AF0-9B41-EC41DEC1C6C3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9E36B8-4729-4B1D-BA1A-B96F5B2500D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140235153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61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6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61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592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0"/>
            <a:ext cx="10515600" cy="2852737"/>
          </a:xfrm>
        </p:spPr>
        <p:txBody>
          <a:bodyPr anchor="b"/>
          <a:lstStyle>
            <a:lvl1pPr>
              <a:defRPr sz="59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29">
                <a:solidFill>
                  <a:schemeClr val="tx1"/>
                </a:solidFill>
              </a:defRPr>
            </a:lvl1pPr>
            <a:lvl2pPr marL="45714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786">
                <a:solidFill>
                  <a:schemeClr val="tx1">
                    <a:tint val="75000"/>
                  </a:schemeClr>
                </a:solidFill>
              </a:defRPr>
            </a:lvl3pPr>
            <a:lvl4pPr marL="1371433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4pPr>
            <a:lvl5pPr marL="1828577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5pPr>
            <a:lvl6pPr marL="2285722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6pPr>
            <a:lvl7pPr marL="2742866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7pPr>
            <a:lvl8pPr marL="3200010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8pPr>
            <a:lvl9pPr marL="3657155" indent="0">
              <a:buNone/>
              <a:defRPr sz="157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5891D-7894-4908-9AC2-C87D9E2EA546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60C29B-4A45-4D50-8282-6B03D81DED7C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897257558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4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D4C690-5BCB-49F8-9DDD-43A4CB0E4FF7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8C1CB-303F-49C7-BBB5-3DF99465ECA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4042088071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6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6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1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66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29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786" b="1"/>
            </a:lvl3pPr>
            <a:lvl4pPr marL="1371433" indent="0">
              <a:buNone/>
              <a:defRPr sz="1571" b="1"/>
            </a:lvl4pPr>
            <a:lvl5pPr marL="1828577" indent="0">
              <a:buNone/>
              <a:defRPr sz="1571" b="1"/>
            </a:lvl5pPr>
            <a:lvl6pPr marL="2285722" indent="0">
              <a:buNone/>
              <a:defRPr sz="1571" b="1"/>
            </a:lvl6pPr>
            <a:lvl7pPr marL="2742866" indent="0">
              <a:buNone/>
              <a:defRPr sz="1571" b="1"/>
            </a:lvl7pPr>
            <a:lvl8pPr marL="3200010" indent="0">
              <a:buNone/>
              <a:defRPr sz="1571" b="1"/>
            </a:lvl8pPr>
            <a:lvl9pPr marL="3657155" indent="0">
              <a:buNone/>
              <a:defRPr sz="157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29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786" b="1"/>
            </a:lvl3pPr>
            <a:lvl4pPr marL="1371433" indent="0">
              <a:buNone/>
              <a:defRPr sz="1571" b="1"/>
            </a:lvl4pPr>
            <a:lvl5pPr marL="1828577" indent="0">
              <a:buNone/>
              <a:defRPr sz="1571" b="1"/>
            </a:lvl5pPr>
            <a:lvl6pPr marL="2285722" indent="0">
              <a:buNone/>
              <a:defRPr sz="1571" b="1"/>
            </a:lvl6pPr>
            <a:lvl7pPr marL="2742866" indent="0">
              <a:buNone/>
              <a:defRPr sz="1571" b="1"/>
            </a:lvl7pPr>
            <a:lvl8pPr marL="3200010" indent="0">
              <a:buNone/>
              <a:defRPr sz="1571" b="1"/>
            </a:lvl8pPr>
            <a:lvl9pPr marL="3657155" indent="0">
              <a:buNone/>
              <a:defRPr sz="157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879A6-F5E7-4045-9964-F8928AF4DD87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833F5-9A08-49FE-B091-6E43A26FC8B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833541406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8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9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C091B5-D6DE-4720-8C32-D8CDF229229B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341EB2-FC23-40A3-AC62-C8F2A196FA7E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908664632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5FCE43-95BB-4DCC-BBD0-C4006205BF0F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6F51B6-87F7-4249-8B1D-65C6B1C5C0F2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5639166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7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71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71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3214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457200"/>
            <a:ext cx="3932237" cy="1600200"/>
          </a:xfrm>
        </p:spPr>
        <p:txBody>
          <a:bodyPr anchor="b"/>
          <a:lstStyle>
            <a:lvl1pPr>
              <a:defRPr sz="321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14"/>
            </a:lvl1pPr>
            <a:lvl2pPr>
              <a:defRPr sz="2786"/>
            </a:lvl2pPr>
            <a:lvl3pPr>
              <a:defRPr sz="242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2" y="2057400"/>
            <a:ext cx="3932237" cy="3811588"/>
          </a:xfrm>
        </p:spPr>
        <p:txBody>
          <a:bodyPr/>
          <a:lstStyle>
            <a:lvl1pPr marL="0" indent="0">
              <a:buNone/>
              <a:defRPr sz="1571"/>
            </a:lvl1pPr>
            <a:lvl2pPr marL="457145" indent="0">
              <a:buNone/>
              <a:defRPr sz="1429"/>
            </a:lvl2pPr>
            <a:lvl3pPr marL="914290" indent="0">
              <a:buNone/>
              <a:defRPr sz="1143"/>
            </a:lvl3pPr>
            <a:lvl4pPr marL="1371433" indent="0">
              <a:buNone/>
              <a:defRPr sz="1000"/>
            </a:lvl4pPr>
            <a:lvl5pPr marL="1828577" indent="0">
              <a:buNone/>
              <a:defRPr sz="1000"/>
            </a:lvl5pPr>
            <a:lvl6pPr marL="2285722" indent="0">
              <a:buNone/>
              <a:defRPr sz="1000"/>
            </a:lvl6pPr>
            <a:lvl7pPr marL="2742866" indent="0">
              <a:buNone/>
              <a:defRPr sz="1000"/>
            </a:lvl7pPr>
            <a:lvl8pPr marL="3200010" indent="0">
              <a:buNone/>
              <a:defRPr sz="1000"/>
            </a:lvl8pPr>
            <a:lvl9pPr marL="365715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533631-5D40-43CB-A5DC-42C136C414D6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B1743E-2D91-4390-9214-31E44F424853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11979374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080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3214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457200"/>
            <a:ext cx="3932237" cy="1600200"/>
          </a:xfrm>
        </p:spPr>
        <p:txBody>
          <a:bodyPr anchor="b"/>
          <a:lstStyle>
            <a:lvl1pPr>
              <a:defRPr sz="321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14"/>
            </a:lvl1pPr>
            <a:lvl2pPr marL="457145" indent="0">
              <a:buNone/>
              <a:defRPr sz="2786"/>
            </a:lvl2pPr>
            <a:lvl3pPr marL="914290" indent="0">
              <a:buNone/>
              <a:defRPr sz="2429"/>
            </a:lvl3pPr>
            <a:lvl4pPr marL="1371433" indent="0">
              <a:buNone/>
              <a:defRPr sz="2000"/>
            </a:lvl4pPr>
            <a:lvl5pPr marL="1828577" indent="0">
              <a:buNone/>
              <a:defRPr sz="2000"/>
            </a:lvl5pPr>
            <a:lvl6pPr marL="2285722" indent="0">
              <a:buNone/>
              <a:defRPr sz="2000"/>
            </a:lvl6pPr>
            <a:lvl7pPr marL="2742866" indent="0">
              <a:buNone/>
              <a:defRPr sz="2000"/>
            </a:lvl7pPr>
            <a:lvl8pPr marL="3200010" indent="0">
              <a:buNone/>
              <a:defRPr sz="2000"/>
            </a:lvl8pPr>
            <a:lvl9pPr marL="3657155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2" y="2057400"/>
            <a:ext cx="3932237" cy="3811588"/>
          </a:xfrm>
        </p:spPr>
        <p:txBody>
          <a:bodyPr/>
          <a:lstStyle>
            <a:lvl1pPr marL="0" indent="0">
              <a:buNone/>
              <a:defRPr sz="1571"/>
            </a:lvl1pPr>
            <a:lvl2pPr marL="457145" indent="0">
              <a:buNone/>
              <a:defRPr sz="1429"/>
            </a:lvl2pPr>
            <a:lvl3pPr marL="914290" indent="0">
              <a:buNone/>
              <a:defRPr sz="1143"/>
            </a:lvl3pPr>
            <a:lvl4pPr marL="1371433" indent="0">
              <a:buNone/>
              <a:defRPr sz="1000"/>
            </a:lvl4pPr>
            <a:lvl5pPr marL="1828577" indent="0">
              <a:buNone/>
              <a:defRPr sz="1000"/>
            </a:lvl5pPr>
            <a:lvl6pPr marL="2285722" indent="0">
              <a:buNone/>
              <a:defRPr sz="1000"/>
            </a:lvl6pPr>
            <a:lvl7pPr marL="2742866" indent="0">
              <a:buNone/>
              <a:defRPr sz="1000"/>
            </a:lvl7pPr>
            <a:lvl8pPr marL="3200010" indent="0">
              <a:buNone/>
              <a:defRPr sz="1000"/>
            </a:lvl8pPr>
            <a:lvl9pPr marL="365715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5BBA2E-4DCF-4B2F-8F65-D9CB333B8A73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7CCD8-123B-4FD4-B8D9-AC97D1DB0091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691780396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6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6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642DF-635D-4AF5-A5C4-12CAB865416E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3091A-CCCA-406D-AD34-402044E8FF4C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416585705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8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78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4574D-9CB2-4E38-9F41-D66CC6D04C15}" type="datetimeFigureOut">
              <a:rPr lang="en-US"/>
              <a:pPr>
                <a:defRPr/>
              </a:pPr>
              <a:t>1/18/2022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AEC3B9-2476-4C12-8D50-4AAC4614EA70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4045637616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0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1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597" y="726178"/>
            <a:ext cx="10516811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3C639-5BCC-4C7C-8AB8-D7BFAC7ADB09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543102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83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83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4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83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343706"/>
            <a:ext cx="2783416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7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343706"/>
            <a:ext cx="2784928" cy="438830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29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282347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Заделы региона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0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124728" y="1065894"/>
            <a:ext cx="2784928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Тренды отрасл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1.1. Ключевые показа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39966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1.2. Связанные отрас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3282347" y="1482045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1. Топ</a:t>
            </a:r>
            <a:r>
              <a:rPr lang="en-US" sz="1000" b="1" smtClean="0">
                <a:solidFill>
                  <a:prstClr val="white"/>
                </a:solidFill>
              </a:rPr>
              <a:t>-5 </a:t>
            </a:r>
            <a:r>
              <a:rPr lang="ru-RU" sz="1000" b="1" smtClean="0">
                <a:solidFill>
                  <a:prstClr val="white"/>
                </a:solidFill>
              </a:rPr>
              <a:t>орг-ий </a:t>
            </a:r>
            <a:r>
              <a:rPr lang="en-GB" sz="1000" b="1" smtClean="0">
                <a:solidFill>
                  <a:prstClr val="white"/>
                </a:solidFill>
              </a:rPr>
              <a:t>(&gt;50 </a:t>
            </a:r>
            <a:r>
              <a:rPr lang="ru-RU" sz="1000" b="1" smtClean="0">
                <a:solidFill>
                  <a:prstClr val="white"/>
                </a:solidFill>
              </a:rPr>
              <a:t>млн р.)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>
            <a:spLocks noChangeArrowheads="1"/>
          </p:cNvSpPr>
          <p:nvPr userDrawn="1"/>
        </p:nvSpPr>
        <p:spPr bwMode="auto">
          <a:xfrm>
            <a:off x="3282347" y="2747509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2 Ключевые продукты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343706"/>
            <a:ext cx="2783417" cy="4388304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 userDrawn="1"/>
        </p:nvSpPr>
        <p:spPr bwMode="auto">
          <a:xfrm>
            <a:off x="3282347" y="3697741"/>
            <a:ext cx="2736548" cy="153888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53993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32653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smtClean="0">
                <a:solidFill>
                  <a:prstClr val="white"/>
                </a:solidFill>
              </a:rPr>
              <a:t>2.3. Ресурсы:</a:t>
            </a:r>
            <a:endParaRPr lang="en-GB" sz="1000" b="1" smtClean="0">
              <a:solidFill>
                <a:prstClr val="white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8968620" y="1065894"/>
            <a:ext cx="2783417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75" tIns="32652" rIns="0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1482045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3.1. Мировы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1689554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Новые продукт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24727" y="3697741"/>
            <a:ext cx="2736548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3.2. Российские тренд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Производство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2747509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Рабочие места</a:t>
            </a:r>
            <a:r>
              <a:rPr lang="en-US" sz="1000" dirty="0">
                <a:solidFill>
                  <a:prstClr val="black"/>
                </a:solidFill>
              </a:rPr>
              <a:t> (2017)</a:t>
            </a:r>
            <a:r>
              <a:rPr lang="ru-RU" sz="1000" dirty="0">
                <a:solidFill>
                  <a:prstClr val="black"/>
                </a:solidFill>
              </a:rPr>
              <a:t>, тыс. ед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1689554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Выручка (2017), млрд руб.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Природные ресурсы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305025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Человеческий потенциал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2740706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Растущие рын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3921125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Госполитика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147405" y="4808991"/>
            <a:ext cx="2641299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Импортозамещение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3921125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Отрасли-поставщик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53573" y="4808991"/>
            <a:ext cx="2639785" cy="15388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black"/>
                </a:solidFill>
              </a:rPr>
              <a:t>Отрасли-потребители: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1482045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1. Поставщик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2740706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2. Потребители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3689804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968619" y="4808991"/>
            <a:ext cx="2735036" cy="153888"/>
          </a:xfrm>
          <a:prstGeom prst="rect">
            <a:avLst/>
          </a:prstGeom>
          <a:solidFill>
            <a:schemeClr val="tx1"/>
          </a:solidFill>
        </p:spPr>
        <p:txBody>
          <a:bodyPr lIns="53993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26532">
              <a:defRPr/>
            </a:pPr>
            <a:r>
              <a:rPr lang="ru-RU" sz="1000" dirty="0">
                <a:solidFill>
                  <a:prstClr val="white"/>
                </a:solidFill>
              </a:rPr>
              <a:t>4.4. Новые продукты:</a:t>
            </a:r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68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53573" y="5763760"/>
            <a:ext cx="2769809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69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29595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0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138334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5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8980716" y="5763760"/>
            <a:ext cx="2771321" cy="103187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326532">
              <a:defRPr/>
            </a:pPr>
            <a:endParaRPr lang="en-GB" sz="2500" dirty="0">
              <a:solidFill>
                <a:prstClr val="white"/>
              </a:solidFill>
            </a:endParaRPr>
          </a:p>
        </p:txBody>
      </p:sp>
      <p:sp>
        <p:nvSpPr>
          <p:cNvPr id="76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39965" y="1065894"/>
            <a:ext cx="2783416" cy="368527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4" tIns="32652" rIns="65304" bIns="32652" anchor="ctr"/>
          <a:lstStyle/>
          <a:p>
            <a:pPr algn="ctr" defTabSz="914290">
              <a:defRPr/>
            </a:pPr>
            <a:r>
              <a:rPr lang="ru-RU" sz="1071" b="1" dirty="0">
                <a:solidFill>
                  <a:prstClr val="white"/>
                </a:solidFill>
              </a:rPr>
              <a:t>Описание отрасли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7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324152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2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8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9"/>
            </p:custDataLst>
          </p:nvPr>
        </p:nvSpPr>
        <p:spPr>
          <a:xfrm>
            <a:off x="6085418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3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79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10"/>
            </p:custDataLst>
          </p:nvPr>
        </p:nvSpPr>
        <p:spPr>
          <a:xfrm>
            <a:off x="399145" y="976314"/>
            <a:ext cx="240393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1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80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11"/>
            </p:custDataLst>
          </p:nvPr>
        </p:nvSpPr>
        <p:spPr>
          <a:xfrm>
            <a:off x="8927800" y="976314"/>
            <a:ext cx="238881" cy="179161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326532">
              <a:defRPr/>
            </a:pPr>
            <a:r>
              <a:rPr lang="ru-RU" sz="1071" b="1" dirty="0">
                <a:solidFill>
                  <a:prstClr val="white"/>
                </a:solidFill>
              </a:rPr>
              <a:t>4</a:t>
            </a:r>
            <a:endParaRPr lang="en-GB" sz="1071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086" y="107237"/>
            <a:ext cx="11311837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82691" y="2960138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03799" y="4099544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851" y="4099544"/>
            <a:ext cx="2728247" cy="688535"/>
          </a:xfrm>
          <a:prstGeom prst="rect">
            <a:avLst/>
          </a:prstGeom>
        </p:spPr>
        <p:txBody>
          <a:bodyPr lIns="53993" tIns="0" rIns="0" bIns="0"/>
          <a:lstStyle>
            <a:lvl1pPr marL="0" indent="360319"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3795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5302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25306" y="1883427"/>
            <a:ext cx="2741791" cy="789333"/>
          </a:xfrm>
          <a:prstGeom prst="rect">
            <a:avLst/>
          </a:prstGeom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/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5302" y="2960138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3628" y="4099544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3628" y="4983227"/>
            <a:ext cx="2741791" cy="688535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0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67918" y="1690068"/>
            <a:ext cx="2741791" cy="982695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967918" y="2960133"/>
            <a:ext cx="2741791" cy="708970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67918" y="3920567"/>
            <a:ext cx="2741791" cy="86750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967918" y="4983227"/>
            <a:ext cx="2741791" cy="688535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32527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77659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22791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176191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67925" y="5909768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176191" algn="l" defTabSz="914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>
                <a:solidFill>
                  <a:schemeClr val="bg1"/>
                </a:solidFill>
              </a:defRPr>
            </a:lvl1pPr>
            <a:lvl2pPr>
              <a:defRPr sz="1071"/>
            </a:lvl2pPr>
            <a:lvl3pPr>
              <a:defRPr sz="1071"/>
            </a:lvl3pPr>
            <a:lvl4pPr>
              <a:defRPr sz="1071"/>
            </a:lvl4pPr>
            <a:lvl5pPr>
              <a:defRPr sz="107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81863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85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1512" cy="11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81673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88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75A3F-B682-4799-B669-AB48B8FF0916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959729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9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90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90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67453B-89B1-4167-98EF-52A306ACF51F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923047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2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3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179"/>
            <a:ext cx="10515600" cy="603462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C2594-E7BF-4E31-9FD3-03200DF0BDEF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246257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9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23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95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95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defRPr/>
            </a:pPr>
            <a:endParaRPr lang="en-US" sz="20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FC6CE-A820-446C-BC2C-8CCEE4E36E8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86856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oleObject" Target="../embeddings/oleObject185.bin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tags" Target="../tags/tag408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tags" Target="../tags/tag407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vmlDrawing" Target="../drawings/vmlDrawing104.v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theme" Target="../theme/theme11.xml"/><Relationship Id="rId27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18" Type="http://schemas.openxmlformats.org/officeDocument/2006/relationships/slideLayout" Target="../slideLayouts/slideLayout253.xml"/><Relationship Id="rId26" Type="http://schemas.openxmlformats.org/officeDocument/2006/relationships/tags" Target="../tags/tag461.xml"/><Relationship Id="rId3" Type="http://schemas.openxmlformats.org/officeDocument/2006/relationships/slideLayout" Target="../slideLayouts/slideLayout238.xml"/><Relationship Id="rId21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slideLayout" Target="../slideLayouts/slideLayout252.xml"/><Relationship Id="rId25" Type="http://schemas.openxmlformats.org/officeDocument/2006/relationships/tags" Target="../tags/tag460.xml"/><Relationship Id="rId2" Type="http://schemas.openxmlformats.org/officeDocument/2006/relationships/slideLayout" Target="../slideLayouts/slideLayout237.xml"/><Relationship Id="rId16" Type="http://schemas.openxmlformats.org/officeDocument/2006/relationships/slideLayout" Target="../slideLayouts/slideLayout251.xml"/><Relationship Id="rId20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24" Type="http://schemas.openxmlformats.org/officeDocument/2006/relationships/vmlDrawing" Target="../drawings/vmlDrawing126.v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23" Type="http://schemas.openxmlformats.org/officeDocument/2006/relationships/theme" Target="../theme/theme1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45.xml"/><Relationship Id="rId19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Relationship Id="rId22" Type="http://schemas.openxmlformats.org/officeDocument/2006/relationships/slideLayout" Target="../slideLayouts/slideLayout257.xml"/><Relationship Id="rId27" Type="http://schemas.openxmlformats.org/officeDocument/2006/relationships/oleObject" Target="../embeddings/oleObject210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5.xml"/><Relationship Id="rId13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5.xml"/><Relationship Id="rId26" Type="http://schemas.openxmlformats.org/officeDocument/2006/relationships/tags" Target="../tags/tag589.xml"/><Relationship Id="rId3" Type="http://schemas.openxmlformats.org/officeDocument/2006/relationships/slideLayout" Target="../slideLayouts/slideLayout260.xml"/><Relationship Id="rId21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64.xml"/><Relationship Id="rId12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4.xml"/><Relationship Id="rId25" Type="http://schemas.openxmlformats.org/officeDocument/2006/relationships/vmlDrawing" Target="../drawings/vmlDrawing148.vml"/><Relationship Id="rId2" Type="http://schemas.openxmlformats.org/officeDocument/2006/relationships/slideLayout" Target="../slideLayouts/slideLayout259.xml"/><Relationship Id="rId16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7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8.xml"/><Relationship Id="rId24" Type="http://schemas.openxmlformats.org/officeDocument/2006/relationships/theme" Target="../theme/theme17.xml"/><Relationship Id="rId5" Type="http://schemas.openxmlformats.org/officeDocument/2006/relationships/slideLayout" Target="../slideLayouts/slideLayout262.xml"/><Relationship Id="rId15" Type="http://schemas.openxmlformats.org/officeDocument/2006/relationships/slideLayout" Target="../slideLayouts/slideLayout272.xml"/><Relationship Id="rId23" Type="http://schemas.openxmlformats.org/officeDocument/2006/relationships/slideLayout" Target="../slideLayouts/slideLayout280.xml"/><Relationship Id="rId28" Type="http://schemas.openxmlformats.org/officeDocument/2006/relationships/oleObject" Target="../embeddings/oleObject273.bin"/><Relationship Id="rId10" Type="http://schemas.openxmlformats.org/officeDocument/2006/relationships/slideLayout" Target="../slideLayouts/slideLayout267.xml"/><Relationship Id="rId19" Type="http://schemas.openxmlformats.org/officeDocument/2006/relationships/slideLayout" Target="../slideLayouts/slideLayout276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Relationship Id="rId14" Type="http://schemas.openxmlformats.org/officeDocument/2006/relationships/slideLayout" Target="../slideLayouts/slideLayout271.xml"/><Relationship Id="rId22" Type="http://schemas.openxmlformats.org/officeDocument/2006/relationships/slideLayout" Target="../slideLayouts/slideLayout279.xml"/><Relationship Id="rId27" Type="http://schemas.openxmlformats.org/officeDocument/2006/relationships/tags" Target="../tags/tag59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slideLayout" Target="../slideLayouts/slideLayout293.xml"/><Relationship Id="rId18" Type="http://schemas.openxmlformats.org/officeDocument/2006/relationships/slideLayout" Target="../slideLayouts/slideLayout298.xml"/><Relationship Id="rId26" Type="http://schemas.openxmlformats.org/officeDocument/2006/relationships/tags" Target="../tags/tag641.xml"/><Relationship Id="rId3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287.xml"/><Relationship Id="rId12" Type="http://schemas.openxmlformats.org/officeDocument/2006/relationships/slideLayout" Target="../slideLayouts/slideLayout292.xml"/><Relationship Id="rId17" Type="http://schemas.openxmlformats.org/officeDocument/2006/relationships/slideLayout" Target="../slideLayouts/slideLayout297.xml"/><Relationship Id="rId25" Type="http://schemas.openxmlformats.org/officeDocument/2006/relationships/vmlDrawing" Target="../drawings/vmlDrawing170.vml"/><Relationship Id="rId2" Type="http://schemas.openxmlformats.org/officeDocument/2006/relationships/slideLayout" Target="../slideLayouts/slideLayout282.xml"/><Relationship Id="rId16" Type="http://schemas.openxmlformats.org/officeDocument/2006/relationships/slideLayout" Target="../slideLayouts/slideLayout296.xml"/><Relationship Id="rId20" Type="http://schemas.openxmlformats.org/officeDocument/2006/relationships/slideLayout" Target="../slideLayouts/slideLayout30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24" Type="http://schemas.openxmlformats.org/officeDocument/2006/relationships/theme" Target="../theme/theme18.xml"/><Relationship Id="rId5" Type="http://schemas.openxmlformats.org/officeDocument/2006/relationships/slideLayout" Target="../slideLayouts/slideLayout285.xml"/><Relationship Id="rId15" Type="http://schemas.openxmlformats.org/officeDocument/2006/relationships/slideLayout" Target="../slideLayouts/slideLayout295.xml"/><Relationship Id="rId23" Type="http://schemas.openxmlformats.org/officeDocument/2006/relationships/slideLayout" Target="../slideLayouts/slideLayout303.xml"/><Relationship Id="rId28" Type="http://schemas.openxmlformats.org/officeDocument/2006/relationships/oleObject" Target="../embeddings/oleObject298.bin"/><Relationship Id="rId10" Type="http://schemas.openxmlformats.org/officeDocument/2006/relationships/slideLayout" Target="../slideLayouts/slideLayout290.xml"/><Relationship Id="rId19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Relationship Id="rId14" Type="http://schemas.openxmlformats.org/officeDocument/2006/relationships/slideLayout" Target="../slideLayouts/slideLayout294.xml"/><Relationship Id="rId22" Type="http://schemas.openxmlformats.org/officeDocument/2006/relationships/slideLayout" Target="../slideLayouts/slideLayout302.xml"/><Relationship Id="rId27" Type="http://schemas.openxmlformats.org/officeDocument/2006/relationships/tags" Target="../tags/tag64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slideLayout" Target="../slideLayouts/slideLayout321.xml"/><Relationship Id="rId26" Type="http://schemas.openxmlformats.org/officeDocument/2006/relationships/tags" Target="../tags/tag693.xml"/><Relationship Id="rId3" Type="http://schemas.openxmlformats.org/officeDocument/2006/relationships/slideLayout" Target="../slideLayouts/slideLayout306.xml"/><Relationship Id="rId21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slideLayout" Target="../slideLayouts/slideLayout320.xml"/><Relationship Id="rId25" Type="http://schemas.openxmlformats.org/officeDocument/2006/relationships/vmlDrawing" Target="../drawings/vmlDrawing192.vml"/><Relationship Id="rId2" Type="http://schemas.openxmlformats.org/officeDocument/2006/relationships/slideLayout" Target="../slideLayouts/slideLayout305.xml"/><Relationship Id="rId16" Type="http://schemas.openxmlformats.org/officeDocument/2006/relationships/slideLayout" Target="../slideLayouts/slideLayout319.xml"/><Relationship Id="rId20" Type="http://schemas.openxmlformats.org/officeDocument/2006/relationships/slideLayout" Target="../slideLayouts/slideLayout32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24" Type="http://schemas.openxmlformats.org/officeDocument/2006/relationships/theme" Target="../theme/theme19.xml"/><Relationship Id="rId5" Type="http://schemas.openxmlformats.org/officeDocument/2006/relationships/slideLayout" Target="../slideLayouts/slideLayout308.xml"/><Relationship Id="rId15" Type="http://schemas.openxmlformats.org/officeDocument/2006/relationships/slideLayout" Target="../slideLayouts/slideLayout318.xml"/><Relationship Id="rId23" Type="http://schemas.openxmlformats.org/officeDocument/2006/relationships/slideLayout" Target="../slideLayouts/slideLayout326.xml"/><Relationship Id="rId28" Type="http://schemas.openxmlformats.org/officeDocument/2006/relationships/oleObject" Target="../embeddings/oleObject323.bin"/><Relationship Id="rId10" Type="http://schemas.openxmlformats.org/officeDocument/2006/relationships/slideLayout" Target="../slideLayouts/slideLayout313.xml"/><Relationship Id="rId19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slideLayout" Target="../slideLayouts/slideLayout317.xml"/><Relationship Id="rId22" Type="http://schemas.openxmlformats.org/officeDocument/2006/relationships/slideLayout" Target="../slideLayouts/slideLayout325.xml"/><Relationship Id="rId27" Type="http://schemas.openxmlformats.org/officeDocument/2006/relationships/tags" Target="../tags/tag69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slideLayout" Target="../slideLayouts/slideLayout339.xml"/><Relationship Id="rId18" Type="http://schemas.openxmlformats.org/officeDocument/2006/relationships/slideLayout" Target="../slideLayouts/slideLayout344.xml"/><Relationship Id="rId26" Type="http://schemas.openxmlformats.org/officeDocument/2006/relationships/tags" Target="../tags/tag745.xml"/><Relationship Id="rId3" Type="http://schemas.openxmlformats.org/officeDocument/2006/relationships/slideLayout" Target="../slideLayouts/slideLayout329.xml"/><Relationship Id="rId21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17" Type="http://schemas.openxmlformats.org/officeDocument/2006/relationships/slideLayout" Target="../slideLayouts/slideLayout343.xml"/><Relationship Id="rId25" Type="http://schemas.openxmlformats.org/officeDocument/2006/relationships/vmlDrawing" Target="../drawings/vmlDrawing214.vml"/><Relationship Id="rId2" Type="http://schemas.openxmlformats.org/officeDocument/2006/relationships/slideLayout" Target="../slideLayouts/slideLayout328.xml"/><Relationship Id="rId16" Type="http://schemas.openxmlformats.org/officeDocument/2006/relationships/slideLayout" Target="../slideLayouts/slideLayout342.xml"/><Relationship Id="rId20" Type="http://schemas.openxmlformats.org/officeDocument/2006/relationships/slideLayout" Target="../slideLayouts/slideLayout34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24" Type="http://schemas.openxmlformats.org/officeDocument/2006/relationships/theme" Target="../theme/theme20.xml"/><Relationship Id="rId5" Type="http://schemas.openxmlformats.org/officeDocument/2006/relationships/slideLayout" Target="../slideLayouts/slideLayout331.xml"/><Relationship Id="rId15" Type="http://schemas.openxmlformats.org/officeDocument/2006/relationships/slideLayout" Target="../slideLayouts/slideLayout341.xml"/><Relationship Id="rId23" Type="http://schemas.openxmlformats.org/officeDocument/2006/relationships/slideLayout" Target="../slideLayouts/slideLayout349.xml"/><Relationship Id="rId28" Type="http://schemas.openxmlformats.org/officeDocument/2006/relationships/oleObject" Target="../embeddings/oleObject348.bin"/><Relationship Id="rId10" Type="http://schemas.openxmlformats.org/officeDocument/2006/relationships/slideLayout" Target="../slideLayouts/slideLayout336.xml"/><Relationship Id="rId19" Type="http://schemas.openxmlformats.org/officeDocument/2006/relationships/slideLayout" Target="../slideLayouts/slideLayout345.xml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slideLayout" Target="../slideLayouts/slideLayout340.xml"/><Relationship Id="rId22" Type="http://schemas.openxmlformats.org/officeDocument/2006/relationships/slideLayout" Target="../slideLayouts/slideLayout348.xml"/><Relationship Id="rId27" Type="http://schemas.openxmlformats.org/officeDocument/2006/relationships/tags" Target="../tags/tag74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26" Type="http://schemas.openxmlformats.org/officeDocument/2006/relationships/tags" Target="../tags/tag797.xml"/><Relationship Id="rId3" Type="http://schemas.openxmlformats.org/officeDocument/2006/relationships/slideLayout" Target="../slideLayouts/slideLayout363.xml"/><Relationship Id="rId21" Type="http://schemas.openxmlformats.org/officeDocument/2006/relationships/slideLayout" Target="../slideLayouts/slideLayout381.xml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5" Type="http://schemas.openxmlformats.org/officeDocument/2006/relationships/vmlDrawing" Target="../drawings/vmlDrawing236.vml"/><Relationship Id="rId2" Type="http://schemas.openxmlformats.org/officeDocument/2006/relationships/slideLayout" Target="../slideLayouts/slideLayout362.xml"/><Relationship Id="rId16" Type="http://schemas.openxmlformats.org/officeDocument/2006/relationships/slideLayout" Target="../slideLayouts/slideLayout376.xml"/><Relationship Id="rId20" Type="http://schemas.openxmlformats.org/officeDocument/2006/relationships/slideLayout" Target="../slideLayouts/slideLayout38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24" Type="http://schemas.openxmlformats.org/officeDocument/2006/relationships/theme" Target="../theme/theme22.xml"/><Relationship Id="rId5" Type="http://schemas.openxmlformats.org/officeDocument/2006/relationships/slideLayout" Target="../slideLayouts/slideLayout365.xml"/><Relationship Id="rId15" Type="http://schemas.openxmlformats.org/officeDocument/2006/relationships/slideLayout" Target="../slideLayouts/slideLayout375.xml"/><Relationship Id="rId23" Type="http://schemas.openxmlformats.org/officeDocument/2006/relationships/slideLayout" Target="../slideLayouts/slideLayout383.xml"/><Relationship Id="rId28" Type="http://schemas.openxmlformats.org/officeDocument/2006/relationships/oleObject" Target="../embeddings/oleObject373.bin"/><Relationship Id="rId10" Type="http://schemas.openxmlformats.org/officeDocument/2006/relationships/slideLayout" Target="../slideLayouts/slideLayout370.xml"/><Relationship Id="rId19" Type="http://schemas.openxmlformats.org/officeDocument/2006/relationships/slideLayout" Target="../slideLayouts/slideLayout379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4" Type="http://schemas.openxmlformats.org/officeDocument/2006/relationships/slideLayout" Target="../slideLayouts/slideLayout374.xml"/><Relationship Id="rId22" Type="http://schemas.openxmlformats.org/officeDocument/2006/relationships/slideLayout" Target="../slideLayouts/slideLayout382.xml"/><Relationship Id="rId27" Type="http://schemas.openxmlformats.org/officeDocument/2006/relationships/tags" Target="../tags/tag79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67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theme" Target="../theme/theme4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43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tags" Target="../tags/tag101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tags" Target="../tags/tag100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vmlDrawing" Target="../drawings/vmlDrawing36.v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heme" Target="../theme/theme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oleObject" Target="../embeddings/oleObject3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tags" Target="../tags/tag230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tags" Target="../tags/tag22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vmlDrawing" Target="../drawings/vmlDrawing58.v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theme" Target="../theme/theme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oleObject" Target="../embeddings/oleObject99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tags" Target="../tags/tag319.xml"/><Relationship Id="rId3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tags" Target="../tags/tag318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24" Type="http://schemas.openxmlformats.org/officeDocument/2006/relationships/vmlDrawing" Target="../drawings/vmlDrawing81.v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theme" Target="../theme/theme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slideLayout" Target="../slideLayouts/slideLayout146.xml"/><Relationship Id="rId27" Type="http://schemas.openxmlformats.org/officeDocument/2006/relationships/oleObject" Target="../embeddings/oleObject142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88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38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33" tIns="38866" rIns="77733" bIns="38866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33" tIns="38866" rIns="77733" bIns="3886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7"/>
            <a:ext cx="27432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65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665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7"/>
            <a:ext cx="41148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65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7"/>
            <a:ext cx="2743200" cy="365125"/>
          </a:xfrm>
          <a:prstGeom prst="rect">
            <a:avLst/>
          </a:prstGeom>
        </p:spPr>
        <p:txBody>
          <a:bodyPr vert="horz" lIns="77733" tIns="38866" rIns="77733" bIns="38866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65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665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707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5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65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703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  <p:sldLayoutId id="2147484267" r:id="rId11"/>
    <p:sldLayoutId id="2147484268" r:id="rId12"/>
    <p:sldLayoutId id="2147484270" r:id="rId13"/>
    <p:sldLayoutId id="2147484271" r:id="rId14"/>
    <p:sldLayoutId id="2147484272" r:id="rId15"/>
    <p:sldLayoutId id="2147484273" r:id="rId16"/>
    <p:sldLayoutId id="2147484274" r:id="rId17"/>
    <p:sldLayoutId id="2147484275" r:id="rId18"/>
    <p:sldLayoutId id="2147484276" r:id="rId19"/>
    <p:sldLayoutId id="2147484277" r:id="rId20"/>
    <p:sldLayoutId id="2147484278" r:id="rId21"/>
  </p:sldLayoutIdLst>
  <p:hf hdr="0" ftr="0" dt="0"/>
  <p:txStyles>
    <p:titleStyle>
      <a:lvl1pPr algn="l" defTabSz="1088265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066" indent="-272066" algn="l" defTabSz="1088265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6198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60328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4460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8593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2724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855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985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118" indent="-272066" algn="l" defTabSz="1088265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32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265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395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527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659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789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921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3054" algn="l" defTabSz="108826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18.01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306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0" r:id="rId1"/>
    <p:sldLayoutId id="2147484281" r:id="rId2"/>
    <p:sldLayoutId id="2147484282" r:id="rId3"/>
    <p:sldLayoutId id="2147484283" r:id="rId4"/>
    <p:sldLayoutId id="2147484284" r:id="rId5"/>
    <p:sldLayoutId id="2147484285" r:id="rId6"/>
    <p:sldLayoutId id="2147484286" r:id="rId7"/>
    <p:sldLayoutId id="2147484287" r:id="rId8"/>
    <p:sldLayoutId id="2147484288" r:id="rId9"/>
    <p:sldLayoutId id="2147484289" r:id="rId10"/>
    <p:sldLayoutId id="2147484290" r:id="rId11"/>
    <p:sldLayoutId id="2147484291" r:id="rId12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C2972714-32A2-41D2-BC8E-E7DEF735C05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49A93F6-20D4-4075-A481-466322119E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581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308" r:id="rId3"/>
    <p:sldLayoutId id="2147484309" r:id="rId4"/>
    <p:sldLayoutId id="2147484310" r:id="rId5"/>
    <p:sldLayoutId id="2147484311" r:id="rId6"/>
    <p:sldLayoutId id="2147484312" r:id="rId7"/>
    <p:sldLayoutId id="2147484313" r:id="rId8"/>
    <p:sldLayoutId id="2147484314" r:id="rId9"/>
    <p:sldLayoutId id="2147484315" r:id="rId10"/>
    <p:sldLayoutId id="2147484316" r:id="rId11"/>
    <p:sldLayoutId id="214748431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 defTabSz="914400"/>
              <a:t>18.01.2022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8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660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9" r:id="rId1"/>
    <p:sldLayoutId id="2147484320" r:id="rId2"/>
    <p:sldLayoutId id="2147484321" r:id="rId3"/>
    <p:sldLayoutId id="2147484322" r:id="rId4"/>
    <p:sldLayoutId id="2147484323" r:id="rId5"/>
    <p:sldLayoutId id="2147484324" r:id="rId6"/>
    <p:sldLayoutId id="2147484325" r:id="rId7"/>
    <p:sldLayoutId id="2147484326" r:id="rId8"/>
    <p:sldLayoutId id="2147484327" r:id="rId9"/>
    <p:sldLayoutId id="2147484328" r:id="rId10"/>
    <p:sldLayoutId id="214748432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503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837597" y="365126"/>
            <a:ext cx="10516809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597" y="1825625"/>
            <a:ext cx="10516809" cy="43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597" y="6356805"/>
            <a:ext cx="2744108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143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fld id="{35E429DD-8429-4B6A-A263-9B93BD87A646}" type="datetimeFigureOut">
              <a:rPr lang="en-US" smtClean="0"/>
              <a:pPr defTabSz="324310" fontAlgn="base">
                <a:spcBef>
                  <a:spcPct val="0"/>
                </a:spcBef>
                <a:spcAft>
                  <a:spcPct val="0"/>
                </a:spcAft>
                <a:defRPr/>
              </a:pPr>
              <a:t>1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299" y="6356805"/>
            <a:ext cx="4115405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143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99" y="6356805"/>
            <a:ext cx="2744107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43">
                <a:solidFill>
                  <a:srgbClr val="898989"/>
                </a:solidFill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fld id="{891391B0-2E83-4E18-A049-CE98B5EA2BD3}" type="slidenum">
              <a:rPr lang="en-GB" altLang="ru-RU" smtClean="0">
                <a:cs typeface="Arial" panose="020B0604020202020204" pitchFamily="34" charset="0"/>
              </a:rPr>
              <a:pPr defTabSz="3243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ru-RU">
              <a:cs typeface="Arial" panose="020B0604020202020204" pitchFamily="34" charset="0"/>
            </a:endParaRPr>
          </a:p>
        </p:txBody>
      </p:sp>
      <p:graphicFrame>
        <p:nvGraphicFramePr>
          <p:cNvPr id="2055" name="Object 120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50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328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56" r:id="rId2"/>
    <p:sldLayoutId id="2147484357" r:id="rId3"/>
    <p:sldLayoutId id="2147484358" r:id="rId4"/>
    <p:sldLayoutId id="2147484359" r:id="rId5"/>
    <p:sldLayoutId id="2147484360" r:id="rId6"/>
    <p:sldLayoutId id="2147484361" r:id="rId7"/>
    <p:sldLayoutId id="2147484362" r:id="rId8"/>
    <p:sldLayoutId id="2147484363" r:id="rId9"/>
    <p:sldLayoutId id="2147484364" r:id="rId10"/>
    <p:sldLayoutId id="2147484365" r:id="rId11"/>
    <p:sldLayoutId id="2147484366" r:id="rId12"/>
    <p:sldLayoutId id="2147484367" r:id="rId13"/>
    <p:sldLayoutId id="2147484368" r:id="rId14"/>
    <p:sldLayoutId id="2147484369" r:id="rId15"/>
    <p:sldLayoutId id="2147484370" r:id="rId16"/>
    <p:sldLayoutId id="2147484371" r:id="rId17"/>
    <p:sldLayoutId id="2147484372" r:id="rId18"/>
    <p:sldLayoutId id="2147484373" r:id="rId19"/>
    <p:sldLayoutId id="2147484374" r:id="rId20"/>
    <p:sldLayoutId id="2147484375" r:id="rId21"/>
    <p:sldLayoutId id="2147484376" r:id="rId22"/>
  </p:sldLayoutIdLst>
  <p:hf hdr="0" ftr="0" dt="0"/>
  <p:txStyles>
    <p:titleStyle>
      <a:lvl1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2pPr>
      <a:lvl3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3pPr>
      <a:lvl4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4pPr>
      <a:lvl5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5pPr>
      <a:lvl6pPr marL="326532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6pPr>
      <a:lvl7pPr marL="653062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7pPr>
      <a:lvl8pPr marL="979595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8pPr>
      <a:lvl9pPr marL="1306127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9pPr>
    </p:titleStyle>
    <p:bodyStyle>
      <a:lvl1pPr marL="225657" indent="-225657" algn="l" defTabSz="911697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786" kern="1200">
          <a:solidFill>
            <a:schemeClr val="tx1"/>
          </a:solidFill>
          <a:latin typeface="+mn-lt"/>
          <a:ea typeface="+mn-ea"/>
          <a:cs typeface="+mn-cs"/>
        </a:defRPr>
      </a:lvl1pPr>
      <a:lvl2pPr marL="682639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357" kern="1200">
          <a:solidFill>
            <a:schemeClr val="tx1"/>
          </a:solidFill>
          <a:latin typeface="+mn-lt"/>
          <a:ea typeface="+mn-ea"/>
          <a:cs typeface="+mn-cs"/>
        </a:defRPr>
      </a:lvl2pPr>
      <a:lvl3pPr marL="1140755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738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2054720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5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9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2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8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3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2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6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5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85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10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8" r:id="rId1"/>
    <p:sldLayoutId id="2147484379" r:id="rId2"/>
    <p:sldLayoutId id="2147484380" r:id="rId3"/>
    <p:sldLayoutId id="2147484381" r:id="rId4"/>
    <p:sldLayoutId id="2147484382" r:id="rId5"/>
    <p:sldLayoutId id="2147484383" r:id="rId6"/>
    <p:sldLayoutId id="2147484384" r:id="rId7"/>
    <p:sldLayoutId id="2147484385" r:id="rId8"/>
    <p:sldLayoutId id="2147484386" r:id="rId9"/>
    <p:sldLayoutId id="2147484387" r:id="rId10"/>
    <p:sldLayoutId id="2147484388" r:id="rId11"/>
    <p:sldLayoutId id="2147484389" r:id="rId12"/>
    <p:sldLayoutId id="2147484390" r:id="rId13"/>
    <p:sldLayoutId id="2147484391" r:id="rId14"/>
    <p:sldLayoutId id="2147484392" r:id="rId15"/>
    <p:sldLayoutId id="2147484393" r:id="rId16"/>
    <p:sldLayoutId id="2147484394" r:id="rId17"/>
    <p:sldLayoutId id="2147484395" r:id="rId18"/>
    <p:sldLayoutId id="2147484396" r:id="rId19"/>
    <p:sldLayoutId id="2147484397" r:id="rId20"/>
    <p:sldLayoutId id="2147484398" r:id="rId21"/>
    <p:sldLayoutId id="2147484399" r:id="rId22"/>
    <p:sldLayoutId id="2147484400" r:id="rId23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13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894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  <p:sldLayoutId id="2147484418" r:id="rId17"/>
    <p:sldLayoutId id="2147484419" r:id="rId18"/>
    <p:sldLayoutId id="2147484420" r:id="rId19"/>
    <p:sldLayoutId id="2147484421" r:id="rId20"/>
    <p:sldLayoutId id="2147484422" r:id="rId21"/>
    <p:sldLayoutId id="2147484423" r:id="rId22"/>
    <p:sldLayoutId id="2147484424" r:id="rId23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41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59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  <p:sldLayoutId id="2147484428" r:id="rId3"/>
    <p:sldLayoutId id="2147484429" r:id="rId4"/>
    <p:sldLayoutId id="2147484430" r:id="rId5"/>
    <p:sldLayoutId id="2147484431" r:id="rId6"/>
    <p:sldLayoutId id="2147484432" r:id="rId7"/>
    <p:sldLayoutId id="2147484433" r:id="rId8"/>
    <p:sldLayoutId id="2147484434" r:id="rId9"/>
    <p:sldLayoutId id="2147484435" r:id="rId10"/>
    <p:sldLayoutId id="2147484436" r:id="rId11"/>
    <p:sldLayoutId id="2147484437" r:id="rId12"/>
    <p:sldLayoutId id="2147484438" r:id="rId13"/>
    <p:sldLayoutId id="2147484439" r:id="rId14"/>
    <p:sldLayoutId id="2147484440" r:id="rId15"/>
    <p:sldLayoutId id="2147484441" r:id="rId16"/>
    <p:sldLayoutId id="2147484442" r:id="rId17"/>
    <p:sldLayoutId id="2147484443" r:id="rId18"/>
    <p:sldLayoutId id="2147484444" r:id="rId19"/>
    <p:sldLayoutId id="2147484445" r:id="rId20"/>
    <p:sldLayoutId id="2147484446" r:id="rId21"/>
    <p:sldLayoutId id="2147484447" r:id="rId22"/>
    <p:sldLayoutId id="2147484448" r:id="rId23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28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17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69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867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  <p:sldLayoutId id="2147484461" r:id="rId12"/>
    <p:sldLayoutId id="2147484462" r:id="rId13"/>
    <p:sldLayoutId id="2147484463" r:id="rId14"/>
    <p:sldLayoutId id="2147484464" r:id="rId15"/>
    <p:sldLayoutId id="2147484465" r:id="rId16"/>
    <p:sldLayoutId id="2147484466" r:id="rId17"/>
    <p:sldLayoutId id="2147484467" r:id="rId18"/>
    <p:sldLayoutId id="2147484468" r:id="rId19"/>
    <p:sldLayoutId id="2147484469" r:id="rId20"/>
    <p:sldLayoutId id="2147484470" r:id="rId21"/>
    <p:sldLayoutId id="2147484471" r:id="rId22"/>
    <p:sldLayoutId id="2147484472" r:id="rId23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0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14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4" r:id="rId1"/>
    <p:sldLayoutId id="2147484475" r:id="rId2"/>
    <p:sldLayoutId id="2147484476" r:id="rId3"/>
    <p:sldLayoutId id="2147484477" r:id="rId4"/>
    <p:sldLayoutId id="2147484478" r:id="rId5"/>
    <p:sldLayoutId id="2147484479" r:id="rId6"/>
    <p:sldLayoutId id="2147484480" r:id="rId7"/>
    <p:sldLayoutId id="2147484481" r:id="rId8"/>
    <p:sldLayoutId id="2147484482" r:id="rId9"/>
    <p:sldLayoutId id="2147484483" r:id="rId10"/>
    <p:sldLayoutId id="214748448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1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98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  <p:sldLayoutId id="2147484491" r:id="rId6"/>
    <p:sldLayoutId id="2147484492" r:id="rId7"/>
    <p:sldLayoutId id="2147484493" r:id="rId8"/>
    <p:sldLayoutId id="2147484494" r:id="rId9"/>
    <p:sldLayoutId id="2147484495" r:id="rId10"/>
    <p:sldLayoutId id="2147484496" r:id="rId11"/>
    <p:sldLayoutId id="2147484497" r:id="rId12"/>
    <p:sldLayoutId id="2147484498" r:id="rId13"/>
    <p:sldLayoutId id="2147484499" r:id="rId14"/>
    <p:sldLayoutId id="2147484500" r:id="rId15"/>
    <p:sldLayoutId id="2147484501" r:id="rId16"/>
    <p:sldLayoutId id="2147484502" r:id="rId17"/>
    <p:sldLayoutId id="2147484503" r:id="rId18"/>
    <p:sldLayoutId id="2147484504" r:id="rId19"/>
    <p:sldLayoutId id="2147484505" r:id="rId20"/>
    <p:sldLayoutId id="2147484506" r:id="rId21"/>
    <p:sldLayoutId id="2147484507" r:id="rId22"/>
    <p:sldLayoutId id="2147484508" r:id="rId23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339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26578"/>
              <a:t>1/1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26578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26578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39"/>
            </p:custDataLst>
            <p:extLst/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60" name="think-cell Slide" r:id="rId42" imgW="473" imgH="476" progId="TCLayout.ActiveDocument.1">
                  <p:embed/>
                </p:oleObj>
              </mc:Choice>
              <mc:Fallback>
                <p:oleObj name="think-cell Slide" r:id="rId42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7D9467BC-9EF3-4A96-AC15-1286272915E9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49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  <p:sldLayoutId id="2147484020" r:id="rId13"/>
    <p:sldLayoutId id="2147484021" r:id="rId14"/>
    <p:sldLayoutId id="2147484022" r:id="rId15"/>
    <p:sldLayoutId id="2147484023" r:id="rId16"/>
    <p:sldLayoutId id="2147484024" r:id="rId17"/>
    <p:sldLayoutId id="2147484025" r:id="rId18"/>
    <p:sldLayoutId id="2147484026" r:id="rId19"/>
    <p:sldLayoutId id="2147484027" r:id="rId20"/>
    <p:sldLayoutId id="2147484028" r:id="rId21"/>
    <p:sldLayoutId id="2147484029" r:id="rId22"/>
    <p:sldLayoutId id="2147484030" r:id="rId23"/>
    <p:sldLayoutId id="2147484031" r:id="rId24"/>
    <p:sldLayoutId id="2147484032" r:id="rId25"/>
    <p:sldLayoutId id="2147484033" r:id="rId26"/>
    <p:sldLayoutId id="2147484034" r:id="rId27"/>
    <p:sldLayoutId id="2147484035" r:id="rId28"/>
    <p:sldLayoutId id="2147484036" r:id="rId29"/>
    <p:sldLayoutId id="2147484037" r:id="rId30"/>
    <p:sldLayoutId id="2147484038" r:id="rId31"/>
    <p:sldLayoutId id="2147484039" r:id="rId32"/>
    <p:sldLayoutId id="2147484040" r:id="rId33"/>
    <p:sldLayoutId id="2147484041" r:id="rId34"/>
    <p:sldLayoutId id="2147484042" r:id="rId35"/>
    <p:sldLayoutId id="2147484043" r:id="rId36"/>
  </p:sldLayoutIdLst>
  <p:hf hdr="0" ftr="0" dt="0"/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544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837597" y="365126"/>
            <a:ext cx="10516809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597" y="1825625"/>
            <a:ext cx="10516809" cy="43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597" y="6356805"/>
            <a:ext cx="2744108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143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fld id="{35E429DD-8429-4B6A-A263-9B93BD87A646}" type="datetimeFigureOut">
              <a:rPr lang="en-US" smtClean="0"/>
              <a:pPr defTabSz="324310" fontAlgn="base">
                <a:spcBef>
                  <a:spcPct val="0"/>
                </a:spcBef>
                <a:spcAft>
                  <a:spcPct val="0"/>
                </a:spcAft>
                <a:defRPr/>
              </a:pPr>
              <a:t>1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299" y="6356805"/>
            <a:ext cx="4115405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143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99" y="6356805"/>
            <a:ext cx="2744107" cy="36512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43">
                <a:solidFill>
                  <a:srgbClr val="898989"/>
                </a:solidFill>
              </a:defRPr>
            </a:lvl1pPr>
          </a:lstStyle>
          <a:p>
            <a:pPr defTabSz="324310" fontAlgn="base">
              <a:spcBef>
                <a:spcPct val="0"/>
              </a:spcBef>
              <a:spcAft>
                <a:spcPct val="0"/>
              </a:spcAft>
              <a:defRPr/>
            </a:pPr>
            <a:fld id="{891391B0-2E83-4E18-A049-CE98B5EA2BD3}" type="slidenum">
              <a:rPr lang="en-GB" altLang="ru-RU" smtClean="0">
                <a:cs typeface="Arial" panose="020B0604020202020204" pitchFamily="34" charset="0"/>
              </a:rPr>
              <a:pPr defTabSz="3243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ru-RU">
              <a:cs typeface="Arial" panose="020B0604020202020204" pitchFamily="34" charset="0"/>
            </a:endParaRPr>
          </a:p>
        </p:txBody>
      </p:sp>
      <p:graphicFrame>
        <p:nvGraphicFramePr>
          <p:cNvPr id="2055" name="Object 120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04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32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357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375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  <p:sldLayoutId id="2147484095" r:id="rId16"/>
    <p:sldLayoutId id="2147484096" r:id="rId17"/>
    <p:sldLayoutId id="2147484097" r:id="rId18"/>
    <p:sldLayoutId id="2147484098" r:id="rId19"/>
    <p:sldLayoutId id="2147484099" r:id="rId20"/>
    <p:sldLayoutId id="2147484100" r:id="rId21"/>
    <p:sldLayoutId id="2147484101" r:id="rId22"/>
  </p:sldLayoutIdLst>
  <p:hf hdr="0" ftr="0" dt="0"/>
  <p:txStyles>
    <p:titleStyle>
      <a:lvl1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2pPr>
      <a:lvl3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3pPr>
      <a:lvl4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4pPr>
      <a:lvl5pPr algn="l" defTabSz="9116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5pPr>
      <a:lvl6pPr marL="326532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6pPr>
      <a:lvl7pPr marL="653062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7pPr>
      <a:lvl8pPr marL="979595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8pPr>
      <a:lvl9pPr marL="1306127" algn="l" defTabSz="913834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itchFamily="34" charset="0"/>
        </a:defRPr>
      </a:lvl9pPr>
    </p:titleStyle>
    <p:bodyStyle>
      <a:lvl1pPr marL="225657" indent="-225657" algn="l" defTabSz="911697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786" kern="1200">
          <a:solidFill>
            <a:schemeClr val="tx1"/>
          </a:solidFill>
          <a:latin typeface="+mn-lt"/>
          <a:ea typeface="+mn-ea"/>
          <a:cs typeface="+mn-cs"/>
        </a:defRPr>
      </a:lvl1pPr>
      <a:lvl2pPr marL="682639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357" kern="1200">
          <a:solidFill>
            <a:schemeClr val="tx1"/>
          </a:solidFill>
          <a:latin typeface="+mn-lt"/>
          <a:ea typeface="+mn-ea"/>
          <a:cs typeface="+mn-cs"/>
        </a:defRPr>
      </a:lvl2pPr>
      <a:lvl3pPr marL="1140755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738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2054720" indent="-225657" algn="l" defTabSz="91169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5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9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2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8" indent="-228572" algn="l" defTabSz="9142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3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7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2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6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0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5" algn="l" defTabSz="914290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597" y="365126"/>
            <a:ext cx="10516809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597" y="1825625"/>
            <a:ext cx="10516809" cy="43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597" y="6356805"/>
            <a:ext cx="27441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fld id="{BD57A4FD-BB2B-4013-A181-3C1BD362C9D7}" type="datetimeFigureOut">
              <a:rPr lang="en-US" smtClean="0">
                <a:cs typeface="Arial" panose="020B0604020202020204" pitchFamily="34" charset="0"/>
              </a:rPr>
              <a:pPr defTabSz="326578">
                <a:defRPr/>
              </a:pPr>
              <a:t>1/18/2022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299" y="6356805"/>
            <a:ext cx="411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endParaRPr lang="en-US"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99" y="6356805"/>
            <a:ext cx="27441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fld id="{CB5A6B8C-5C6A-4EF2-9ACF-7CA4268E3ED4}" type="slidenum">
              <a:rPr lang="en-GB" smtClean="0">
                <a:cs typeface="Arial" panose="020B0604020202020204" pitchFamily="34" charset="0"/>
              </a:rPr>
              <a:pPr defTabSz="326578"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graphicFrame>
        <p:nvGraphicFramePr>
          <p:cNvPr id="1031" name="Object 6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3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934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119" r:id="rId17"/>
    <p:sldLayoutId id="2147484120" r:id="rId18"/>
    <p:sldLayoutId id="2147484121" r:id="rId19"/>
    <p:sldLayoutId id="2147484122" r:id="rId20"/>
    <p:sldLayoutId id="2147484123" r:id="rId21"/>
    <p:sldLayoutId id="2147484124" r:id="rId22"/>
  </p:sldLayoutIdLst>
  <p:hf hdr="0" ftr="0" dt="0"/>
  <p:txStyles>
    <p:titleStyle>
      <a:lvl1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2pPr>
      <a:lvl3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3pPr>
      <a:lvl4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4pPr>
      <a:lvl5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5pPr>
      <a:lvl6pPr marL="326578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6pPr>
      <a:lvl7pPr marL="653156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7pPr>
      <a:lvl8pPr marL="979734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8pPr>
      <a:lvl9pPr marL="1306312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27925" indent="-227925" algn="l" defTabSz="913965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786" kern="1200">
          <a:solidFill>
            <a:schemeClr val="tx1"/>
          </a:solidFill>
          <a:latin typeface="+mn-lt"/>
          <a:ea typeface="+mn-ea"/>
          <a:cs typeface="+mn-cs"/>
        </a:defRPr>
      </a:lvl1pPr>
      <a:lvl2pPr marL="684907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357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6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8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597" y="365126"/>
            <a:ext cx="10516809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597" y="1825625"/>
            <a:ext cx="10516809" cy="43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597" y="6356805"/>
            <a:ext cx="27441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fld id="{BD57A4FD-BB2B-4013-A181-3C1BD362C9D7}" type="datetimeFigureOut">
              <a:rPr lang="en-US" smtClean="0">
                <a:cs typeface="Arial" panose="020B0604020202020204" pitchFamily="34" charset="0"/>
              </a:rPr>
              <a:pPr defTabSz="326578">
                <a:defRPr/>
              </a:pPr>
              <a:t>1/18/2022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299" y="6356805"/>
            <a:ext cx="411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endParaRPr lang="en-US"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99" y="6356805"/>
            <a:ext cx="27441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 defTabSz="326578">
              <a:defRPr/>
            </a:pPr>
            <a:fld id="{CB5A6B8C-5C6A-4EF2-9ACF-7CA4268E3ED4}" type="slidenum">
              <a:rPr lang="en-GB" smtClean="0">
                <a:cs typeface="Arial" panose="020B0604020202020204" pitchFamily="34" charset="0"/>
              </a:rPr>
              <a:pPr defTabSz="326578">
                <a:defRPr/>
              </a:pPr>
              <a:t>‹#›</a:t>
            </a:fld>
            <a:endParaRPr lang="en-GB" dirty="0">
              <a:cs typeface="Arial" panose="020B0604020202020204" pitchFamily="34" charset="0"/>
            </a:endParaRPr>
          </a:p>
        </p:txBody>
      </p:sp>
      <p:graphicFrame>
        <p:nvGraphicFramePr>
          <p:cNvPr id="1031" name="Object 6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13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84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275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  <p:sldLayoutId id="2147484129" r:id="rId4"/>
    <p:sldLayoutId id="2147484130" r:id="rId5"/>
    <p:sldLayoutId id="2147484131" r:id="rId6"/>
    <p:sldLayoutId id="2147484132" r:id="rId7"/>
    <p:sldLayoutId id="2147484133" r:id="rId8"/>
    <p:sldLayoutId id="2147484134" r:id="rId9"/>
    <p:sldLayoutId id="2147484135" r:id="rId10"/>
    <p:sldLayoutId id="2147484136" r:id="rId11"/>
    <p:sldLayoutId id="2147484137" r:id="rId12"/>
    <p:sldLayoutId id="2147484138" r:id="rId13"/>
    <p:sldLayoutId id="2147484139" r:id="rId14"/>
    <p:sldLayoutId id="2147484140" r:id="rId15"/>
    <p:sldLayoutId id="2147484141" r:id="rId16"/>
    <p:sldLayoutId id="2147484142" r:id="rId17"/>
    <p:sldLayoutId id="2147484143" r:id="rId18"/>
    <p:sldLayoutId id="2147484144" r:id="rId19"/>
    <p:sldLayoutId id="2147484145" r:id="rId20"/>
    <p:sldLayoutId id="2147484146" r:id="rId21"/>
    <p:sldLayoutId id="2147484147" r:id="rId22"/>
  </p:sldLayoutIdLst>
  <p:hf hdr="0" ftr="0" dt="0"/>
  <p:txStyles>
    <p:titleStyle>
      <a:lvl1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2pPr>
      <a:lvl3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3pPr>
      <a:lvl4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4pPr>
      <a:lvl5pPr algn="l" defTabSz="91396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5pPr>
      <a:lvl6pPr marL="326578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6pPr>
      <a:lvl7pPr marL="653156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7pPr>
      <a:lvl8pPr marL="979734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8pPr>
      <a:lvl9pPr marL="1306312" algn="l" defTabSz="913965" rtl="0" fontAlgn="base">
        <a:lnSpc>
          <a:spcPct val="90000"/>
        </a:lnSpc>
        <a:spcBef>
          <a:spcPct val="0"/>
        </a:spcBef>
        <a:spcAft>
          <a:spcPct val="0"/>
        </a:spcAft>
        <a:defRPr sz="4357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27925" indent="-227925" algn="l" defTabSz="913965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786" kern="1200">
          <a:solidFill>
            <a:schemeClr val="tx1"/>
          </a:solidFill>
          <a:latin typeface="+mn-lt"/>
          <a:ea typeface="+mn-ea"/>
          <a:cs typeface="+mn-cs"/>
        </a:defRPr>
      </a:lvl1pPr>
      <a:lvl2pPr marL="684907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357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6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8" indent="-227925" algn="l" defTabSz="913965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372" tIns="45687" rIns="91372" bIns="45687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372" tIns="45687" rIns="91372" bIns="4568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89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18.0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898"/>
            <a:ext cx="41148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89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649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</p:sldLayoutIdLst>
  <p:hf hdr="0" ftr="0" dt="0"/>
  <p:txStyles>
    <p:titleStyle>
      <a:lvl1pPr algn="l" defTabSz="9137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26" indent="-228426" algn="l" defTabSz="91371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281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36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93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4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69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5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40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267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1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6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2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72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26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8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4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0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0.xml"/><Relationship Id="rId4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0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45.xml"/><Relationship Id="rId7" Type="http://schemas.openxmlformats.org/officeDocument/2006/relationships/image" Target="../media/image1.emf"/><Relationship Id="rId2" Type="http://schemas.openxmlformats.org/officeDocument/2006/relationships/tags" Target="../tags/tag844.xml"/><Relationship Id="rId1" Type="http://schemas.openxmlformats.org/officeDocument/2006/relationships/vmlDrawing" Target="../drawings/vmlDrawing257.vml"/><Relationship Id="rId6" Type="http://schemas.openxmlformats.org/officeDocument/2006/relationships/oleObject" Target="../embeddings/oleObject395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0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847.xml"/><Relationship Id="rId7" Type="http://schemas.openxmlformats.org/officeDocument/2006/relationships/image" Target="../media/image1.emf"/><Relationship Id="rId2" Type="http://schemas.openxmlformats.org/officeDocument/2006/relationships/tags" Target="../tags/tag846.xml"/><Relationship Id="rId1" Type="http://schemas.openxmlformats.org/officeDocument/2006/relationships/vmlDrawing" Target="../drawings/vmlDrawing258.vml"/><Relationship Id="rId6" Type="http://schemas.openxmlformats.org/officeDocument/2006/relationships/oleObject" Target="../embeddings/oleObject39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0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49.xml"/><Relationship Id="rId7" Type="http://schemas.openxmlformats.org/officeDocument/2006/relationships/image" Target="../media/image1.emf"/><Relationship Id="rId2" Type="http://schemas.openxmlformats.org/officeDocument/2006/relationships/tags" Target="../tags/tag848.xml"/><Relationship Id="rId1" Type="http://schemas.openxmlformats.org/officeDocument/2006/relationships/vmlDrawing" Target="../drawings/vmlDrawing259.vml"/><Relationship Id="rId6" Type="http://schemas.openxmlformats.org/officeDocument/2006/relationships/oleObject" Target="../embeddings/oleObject39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5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tags" Target="../tags/tag851.xml"/><Relationship Id="rId7" Type="http://schemas.openxmlformats.org/officeDocument/2006/relationships/image" Target="../media/image1.emf"/><Relationship Id="rId2" Type="http://schemas.openxmlformats.org/officeDocument/2006/relationships/tags" Target="../tags/tag850.xml"/><Relationship Id="rId1" Type="http://schemas.openxmlformats.org/officeDocument/2006/relationships/vmlDrawing" Target="../drawings/vmlDrawing260.vml"/><Relationship Id="rId6" Type="http://schemas.openxmlformats.org/officeDocument/2006/relationships/oleObject" Target="../embeddings/oleObject39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02.xml"/><Relationship Id="rId9" Type="http://schemas.openxmlformats.org/officeDocument/2006/relationships/image" Target="../media/image15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3.xml"/><Relationship Id="rId7" Type="http://schemas.openxmlformats.org/officeDocument/2006/relationships/oleObject" Target="../embeddings/oleObject399.bin"/><Relationship Id="rId2" Type="http://schemas.openxmlformats.org/officeDocument/2006/relationships/tags" Target="../tags/tag852.xml"/><Relationship Id="rId1" Type="http://schemas.openxmlformats.org/officeDocument/2006/relationships/vmlDrawing" Target="../drawings/vmlDrawing261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115.xml"/><Relationship Id="rId4" Type="http://schemas.openxmlformats.org/officeDocument/2006/relationships/tags" Target="../tags/tag85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oleObject" Target="../embeddings/_____Microsoft_Excel_97-20032.xls"/><Relationship Id="rId3" Type="http://schemas.openxmlformats.org/officeDocument/2006/relationships/tags" Target="../tags/tag856.xml"/><Relationship Id="rId7" Type="http://schemas.openxmlformats.org/officeDocument/2006/relationships/oleObject" Target="../embeddings/oleObject400.bin"/><Relationship Id="rId12" Type="http://schemas.openxmlformats.org/officeDocument/2006/relationships/oleObject" Target="../embeddings/oleObject402.bin"/><Relationship Id="rId17" Type="http://schemas.openxmlformats.org/officeDocument/2006/relationships/image" Target="../media/image18.png"/><Relationship Id="rId2" Type="http://schemas.openxmlformats.org/officeDocument/2006/relationships/tags" Target="../tags/tag855.xml"/><Relationship Id="rId16" Type="http://schemas.openxmlformats.org/officeDocument/2006/relationships/oleObject" Target="../embeddings/_____Microsoft_Excel_97-20033.xls"/><Relationship Id="rId1" Type="http://schemas.openxmlformats.org/officeDocument/2006/relationships/vmlDrawing" Target="../drawings/vmlDrawing262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16.png"/><Relationship Id="rId5" Type="http://schemas.openxmlformats.org/officeDocument/2006/relationships/slideLayout" Target="../slideLayouts/slideLayout137.xml"/><Relationship Id="rId15" Type="http://schemas.openxmlformats.org/officeDocument/2006/relationships/oleObject" Target="../embeddings/oleObject403.bin"/><Relationship Id="rId10" Type="http://schemas.openxmlformats.org/officeDocument/2006/relationships/oleObject" Target="../embeddings/_____Microsoft_Excel_97-20031.xls"/><Relationship Id="rId4" Type="http://schemas.openxmlformats.org/officeDocument/2006/relationships/tags" Target="../tags/tag857.xml"/><Relationship Id="rId9" Type="http://schemas.openxmlformats.org/officeDocument/2006/relationships/oleObject" Target="../embeddings/oleObject401.bin"/><Relationship Id="rId1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9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859.xml"/><Relationship Id="rId7" Type="http://schemas.openxmlformats.org/officeDocument/2006/relationships/image" Target="../media/image1.emf"/><Relationship Id="rId2" Type="http://schemas.openxmlformats.org/officeDocument/2006/relationships/tags" Target="../tags/tag858.xml"/><Relationship Id="rId1" Type="http://schemas.openxmlformats.org/officeDocument/2006/relationships/vmlDrawing" Target="../drawings/vmlDrawing263.vml"/><Relationship Id="rId6" Type="http://schemas.openxmlformats.org/officeDocument/2006/relationships/oleObject" Target="../embeddings/oleObject404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349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0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0.xml"/><Relationship Id="rId11" Type="http://schemas.openxmlformats.org/officeDocument/2006/relationships/image" Target="../media/image31.png"/><Relationship Id="rId5" Type="http://schemas.openxmlformats.org/officeDocument/2006/relationships/diagramLayout" Target="../diagrams/layout10.xml"/><Relationship Id="rId10" Type="http://schemas.openxmlformats.org/officeDocument/2006/relationships/image" Target="../media/image30.png"/><Relationship Id="rId4" Type="http://schemas.openxmlformats.org/officeDocument/2006/relationships/diagramData" Target="../diagrams/data10.xml"/><Relationship Id="rId9" Type="http://schemas.openxmlformats.org/officeDocument/2006/relationships/image" Target="../media/image29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13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13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2.xml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3.xml"/><Relationship Id="rId6" Type="http://schemas.openxmlformats.org/officeDocument/2006/relationships/diagramQuickStyle" Target="../diagrams/quickStyle12.xml"/><Relationship Id="rId11" Type="http://schemas.openxmlformats.org/officeDocument/2006/relationships/image" Target="../media/image38.jpeg"/><Relationship Id="rId5" Type="http://schemas.openxmlformats.org/officeDocument/2006/relationships/diagramLayout" Target="../diagrams/layout12.xml"/><Relationship Id="rId10" Type="http://schemas.microsoft.com/office/2007/relationships/hdphoto" Target="../media/hdphoto1.wdp"/><Relationship Id="rId4" Type="http://schemas.openxmlformats.org/officeDocument/2006/relationships/diagramData" Target="../diagrams/data12.xml"/><Relationship Id="rId9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3.xml"/></Relationships>
</file>

<file path=ppt/slides/_rels/slide3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74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5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9.xml"/></Relationships>
</file>

<file path=ppt/slides/_rels/slide4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0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9.xml"/><Relationship Id="rId6" Type="http://schemas.openxmlformats.org/officeDocument/2006/relationships/image" Target="../media/image41.jpeg"/><Relationship Id="rId5" Type="http://schemas.openxmlformats.org/officeDocument/2006/relationships/image" Target="../media/image10.png"/><Relationship Id="rId4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19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19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2.xml"/><Relationship Id="rId5" Type="http://schemas.openxmlformats.org/officeDocument/2006/relationships/image" Target="../media/image13.png"/><Relationship Id="rId4" Type="http://schemas.openxmlformats.org/officeDocument/2006/relationships/hyperlink" Target="mailto:info@minprir.e-zab.ru" TargetMode="Externa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5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862.xml"/><Relationship Id="rId7" Type="http://schemas.openxmlformats.org/officeDocument/2006/relationships/image" Target="../media/image43.jpeg"/><Relationship Id="rId2" Type="http://schemas.openxmlformats.org/officeDocument/2006/relationships/tags" Target="../tags/tag861.xml"/><Relationship Id="rId1" Type="http://schemas.openxmlformats.org/officeDocument/2006/relationships/tags" Target="../tags/tag860.xml"/><Relationship Id="rId6" Type="http://schemas.openxmlformats.org/officeDocument/2006/relationships/slideLayout" Target="../slideLayouts/slideLayout383.xml"/><Relationship Id="rId5" Type="http://schemas.openxmlformats.org/officeDocument/2006/relationships/tags" Target="../tags/tag864.xml"/><Relationship Id="rId4" Type="http://schemas.openxmlformats.org/officeDocument/2006/relationships/tags" Target="../tags/tag86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866.xml"/><Relationship Id="rId7" Type="http://schemas.openxmlformats.org/officeDocument/2006/relationships/image" Target="../media/image5.emf"/><Relationship Id="rId2" Type="http://schemas.openxmlformats.org/officeDocument/2006/relationships/tags" Target="../tags/tag865.xml"/><Relationship Id="rId1" Type="http://schemas.openxmlformats.org/officeDocument/2006/relationships/vmlDrawing" Target="../drawings/vmlDrawing264.vml"/><Relationship Id="rId6" Type="http://schemas.openxmlformats.org/officeDocument/2006/relationships/oleObject" Target="../embeddings/oleObject406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38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image" Target="../media/image10.png"/><Relationship Id="rId7" Type="http://schemas.openxmlformats.org/officeDocument/2006/relationships/diagramQuickStyle" Target="../diagrams/quickStyle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5.xml"/><Relationship Id="rId6" Type="http://schemas.openxmlformats.org/officeDocument/2006/relationships/diagramLayout" Target="../diagrams/layout6.xml"/><Relationship Id="rId5" Type="http://schemas.openxmlformats.org/officeDocument/2006/relationships/diagramData" Target="../diagrams/data6.xml"/><Relationship Id="rId10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microsoft.com/office/2007/relationships/diagramDrawing" Target="../diagrams/drawing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632419" y="247095"/>
            <a:ext cx="8140121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8" name="TextBox 24"/>
          <p:cNvSpPr txBox="1"/>
          <p:nvPr/>
        </p:nvSpPr>
        <p:spPr>
          <a:xfrm>
            <a:off x="8065537" y="3020639"/>
            <a:ext cx="3529155" cy="1477055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>
              <a:solidFill>
                <a:prstClr val="black"/>
              </a:solidFill>
              <a:cs typeface="Times New Roman" pitchFamily="18" charset="0"/>
            </a:endParaRPr>
          </a:p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 природных ресурсов Забайкальского края</a:t>
            </a:r>
          </a:p>
          <a:p>
            <a:endParaRPr lang="ru-RU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ков Сергей Иванович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121537" y="5998858"/>
            <a:ext cx="2632275" cy="307504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ru-RU" sz="1400" b="1" dirty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ита, </a:t>
            </a:r>
            <a:r>
              <a:rPr lang="ru-RU" sz="1400" b="1" dirty="0" smtClean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ru-RU" sz="1400" b="1" dirty="0" smtClean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января 202</a:t>
            </a:r>
            <a:r>
              <a:rPr lang="en-US" sz="1400" b="1" dirty="0" smtClean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400" b="1" dirty="0" smtClean="0">
                <a:ln w="50800"/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endParaRPr lang="ru-RU" sz="1400" b="1" dirty="0">
              <a:ln w="50800"/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5857" y="927905"/>
            <a:ext cx="10392413" cy="707613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ДЕЯТЕЛЬНОСТИ МИНИСТЕРСТВА ПРИРОДНЫХ РЕСУРСОВ </a:t>
            </a:r>
          </a:p>
          <a:p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ОГО КРАЯ ЗА 202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 И ОСНОВНЫЕ ЗАДАЧИ НА 202</a:t>
            </a:r>
            <a:r>
              <a:rPr lang="en-US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8321" y="144136"/>
            <a:ext cx="1537843" cy="1375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oir.mobi/uploads/posts/2020-12/1606949346_46-p-zabaikale-59.jp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53"/>
          <a:stretch/>
        </p:blipFill>
        <p:spPr bwMode="auto">
          <a:xfrm>
            <a:off x="565467" y="1978047"/>
            <a:ext cx="6913506" cy="458652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6363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2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2508" y="76505"/>
            <a:ext cx="62985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800" b="1" dirty="0" smtClean="0">
                <a:solidFill>
                  <a:prstClr val="black"/>
                </a:solidFill>
              </a:rPr>
              <a:t>Заготовка древесины</a:t>
            </a:r>
            <a:endParaRPr lang="ru-RU" sz="28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8664" y="3688781"/>
            <a:ext cx="629853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>
                <a:solidFill>
                  <a:prstClr val="black"/>
                </a:solidFill>
              </a:rPr>
              <a:t>Динамика заготовки </a:t>
            </a:r>
            <a:r>
              <a:rPr lang="ru-RU" b="1" dirty="0" smtClean="0">
                <a:solidFill>
                  <a:prstClr val="black"/>
                </a:solidFill>
              </a:rPr>
              <a:t>древесины, </a:t>
            </a:r>
            <a:r>
              <a:rPr lang="ru-RU" b="1" dirty="0">
                <a:solidFill>
                  <a:prstClr val="black"/>
                </a:solidFill>
              </a:rPr>
              <a:t>тыс.м</a:t>
            </a:r>
            <a:r>
              <a:rPr lang="ru-RU" b="1" baseline="30000" dirty="0">
                <a:solidFill>
                  <a:prstClr val="black"/>
                </a:solidFill>
              </a:rPr>
              <a:t>3</a:t>
            </a:r>
            <a:endParaRPr lang="ru-RU" baseline="300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8664" y="823706"/>
            <a:ext cx="629853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инамика освоения расчетной лесосеки, %</a:t>
            </a:r>
            <a:endParaRPr lang="ru-RU" baseline="300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722136" y="864144"/>
            <a:ext cx="43232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Расчетная лесосека: </a:t>
            </a:r>
            <a:r>
              <a:rPr lang="ru-RU" b="1" dirty="0">
                <a:solidFill>
                  <a:prstClr val="black"/>
                </a:solidFill>
              </a:rPr>
              <a:t>11 628,7 тыс. куб. </a:t>
            </a:r>
            <a:r>
              <a:rPr lang="ru-RU" b="1" dirty="0" smtClean="0">
                <a:solidFill>
                  <a:prstClr val="black"/>
                </a:solidFill>
              </a:rPr>
              <a:t>м, </a:t>
            </a:r>
          </a:p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освоения в 2021 году: 1 292,7 </a:t>
            </a:r>
            <a:r>
              <a:rPr lang="ru-RU" b="1" dirty="0">
                <a:solidFill>
                  <a:prstClr val="black"/>
                </a:solidFill>
              </a:rPr>
              <a:t>тыс. куб. м</a:t>
            </a:r>
          </a:p>
          <a:p>
            <a:pPr defTabSz="914400"/>
            <a:r>
              <a:rPr lang="ru-RU" dirty="0" smtClean="0">
                <a:solidFill>
                  <a:prstClr val="black"/>
                </a:solidFill>
              </a:rPr>
              <a:t> </a:t>
            </a: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1797114"/>
              </p:ext>
            </p:extLst>
          </p:nvPr>
        </p:nvGraphicFramePr>
        <p:xfrm>
          <a:off x="6421582" y="2257997"/>
          <a:ext cx="5548745" cy="4059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421582" y="1888665"/>
            <a:ext cx="5548745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Структура заготовки древесины по итогам 2021 года</a:t>
            </a:r>
            <a:endParaRPr lang="ru-RU" baseline="30000" dirty="0">
              <a:solidFill>
                <a:prstClr val="black"/>
              </a:solidFill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/>
          </p:nvPr>
        </p:nvGraphicFramePr>
        <p:xfrm>
          <a:off x="498764" y="1417018"/>
          <a:ext cx="5723499" cy="1955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/>
          </p:nvPr>
        </p:nvGraphicFramePr>
        <p:xfrm>
          <a:off x="561076" y="4266550"/>
          <a:ext cx="5841400" cy="2287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10551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254" y="8636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02920" y="129039"/>
            <a:ext cx="669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400" b="1" dirty="0" smtClean="0">
                <a:solidFill>
                  <a:prstClr val="black"/>
                </a:solidFill>
              </a:rPr>
              <a:t>Использование лесов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388869" y="841664"/>
          <a:ext cx="4229905" cy="5816089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4229905"/>
              </a:tblGrid>
              <a:tr h="2490447">
                <a:tc>
                  <a:txBody>
                    <a:bodyPr/>
                    <a:lstStyle/>
                    <a:p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0 видов пользования лесов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</a:p>
                    <a:p>
                      <a:pPr marL="0" indent="630238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3 основных:</a:t>
                      </a:r>
                    </a:p>
                    <a:p>
                      <a:pPr marL="630238" indent="0">
                        <a:buFontTx/>
                        <a:buChar char="-"/>
                      </a:pP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геологическое изучение недр</a:t>
                      </a:r>
                    </a:p>
                    <a:p>
                      <a:pPr marL="630238" indent="0">
                        <a:buFontTx/>
                        <a:buChar char="-"/>
                      </a:pP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линейные объекты</a:t>
                      </a:r>
                    </a:p>
                    <a:p>
                      <a:pPr marL="630238" indent="0"/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- заготовка древесины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039 договор аренды лесных участков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632509">
                <a:tc>
                  <a:txBody>
                    <a:bodyPr/>
                    <a:lstStyle/>
                    <a:p>
                      <a:pPr marL="0" indent="635000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08 для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заготовки древесины</a:t>
                      </a:r>
                    </a:p>
                    <a:p>
                      <a:pPr marL="0" indent="635000"/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на общей площади – 1,7 </a:t>
                      </a:r>
                      <a:r>
                        <a:rPr lang="ru-RU" baseline="0" dirty="0" err="1" smtClean="0">
                          <a:solidFill>
                            <a:schemeClr val="tx1"/>
                          </a:solidFill>
                        </a:rPr>
                        <a:t>млн.га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97861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1"/>
                          </a:solidFill>
                        </a:rPr>
                        <a:t>374 арендаторов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97861">
                <a:tc>
                  <a:txBody>
                    <a:bodyPr/>
                    <a:lstStyle/>
                    <a:p>
                      <a:pPr marL="0" indent="635000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91 для заготовки древесины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889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1"/>
                          </a:solidFill>
                        </a:rPr>
                        <a:t>4,4 млн. га в </a:t>
                      </a:r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аренде</a:t>
                      </a:r>
                    </a:p>
                    <a:p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874,4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млн. руб. поступлений в бюджет, 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из них:</a:t>
                      </a:r>
                    </a:p>
                    <a:p>
                      <a:pPr marL="0" indent="635000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649,2 – федеральный бюджет</a:t>
                      </a:r>
                    </a:p>
                    <a:p>
                      <a:pPr marL="0" indent="635000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225,2 – краевой бюджет</a:t>
                      </a:r>
                    </a:p>
                    <a:p>
                      <a:pPr marL="0" indent="635000"/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652654" y="922511"/>
            <a:ext cx="5548745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инамика предоставления лесных участков в аренду</a:t>
            </a:r>
            <a:endParaRPr lang="ru-RU" baseline="30000" dirty="0">
              <a:solidFill>
                <a:prstClr val="black"/>
              </a:solidFill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/>
          </p:nvPr>
        </p:nvGraphicFramePr>
        <p:xfrm>
          <a:off x="5598966" y="1300326"/>
          <a:ext cx="5656119" cy="2331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852557" y="4341339"/>
          <a:ext cx="7148943" cy="2219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6631"/>
                <a:gridCol w="987216"/>
                <a:gridCol w="1909474"/>
                <a:gridCol w="1004004"/>
                <a:gridCol w="1991618"/>
              </a:tblGrid>
              <a:tr h="326540">
                <a:tc rowSpan="2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Количество договоров аренды, </a:t>
                      </a:r>
                      <a:endParaRPr lang="ru-RU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Количество разрешений на осуществление работ без рубки, </a:t>
                      </a:r>
                      <a:endParaRPr lang="ru-RU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654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шт.,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ая площадь, </a:t>
                      </a: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га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шт.,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ая площадь, </a:t>
                      </a: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га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8140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03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8,2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6,7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9716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20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84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5,3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53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82,7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723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2021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94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5,9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141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421,7</a:t>
                      </a:r>
                      <a:endParaRPr lang="ru-RU" sz="18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852556" y="3603515"/>
            <a:ext cx="7148944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инамика предоставления лесных участков </a:t>
            </a:r>
          </a:p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ля геологического изучения недр без рубки</a:t>
            </a:r>
            <a:endParaRPr lang="ru-RU" baseline="30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239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254" y="8636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02920" y="129039"/>
            <a:ext cx="669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роизводство лесов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6299218"/>
              </p:ext>
            </p:extLst>
          </p:nvPr>
        </p:nvGraphicFramePr>
        <p:xfrm>
          <a:off x="228601" y="2300112"/>
          <a:ext cx="6224154" cy="30220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8063"/>
                <a:gridCol w="1026246"/>
                <a:gridCol w="1060080"/>
                <a:gridCol w="1029765"/>
              </a:tblGrid>
              <a:tr h="61409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задачи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, план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Формирование запаса лесных семян для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овосстановления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кг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52,4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60,3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0,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Увеличение площади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овосстановления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г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112,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613,5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283,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Оснащение учреждений, выполняющих мероприятия по воспроизводству лесов специализированной техникой,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д.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5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502920" y="665824"/>
            <a:ext cx="7892162" cy="900079"/>
            <a:chOff x="0" y="0"/>
            <a:chExt cx="7892162" cy="900079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0" y="0"/>
              <a:ext cx="7892162" cy="900079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Скругленный прямоугольник 4"/>
            <p:cNvSpPr/>
            <p:nvPr/>
          </p:nvSpPr>
          <p:spPr>
            <a:xfrm>
              <a:off x="43938" y="43938"/>
              <a:ext cx="7804286" cy="81220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5880" tIns="55880" rIns="55880" bIns="55880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200" b="1" dirty="0" smtClean="0">
                  <a:solidFill>
                    <a:prstClr val="white"/>
                  </a:solidFill>
                </a:rPr>
                <a:t>Цель:  обеспечение баланса </a:t>
              </a:r>
              <a:r>
                <a:rPr lang="ru-RU" sz="22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бытия</a:t>
              </a:r>
              <a:r>
                <a:rPr lang="ru-RU" sz="2200" b="1" dirty="0" smtClean="0">
                  <a:solidFill>
                    <a:prstClr val="white"/>
                  </a:solidFill>
                </a:rPr>
                <a:t> и воспроизводства лесов в соотношении 100% к 2024 году</a:t>
              </a:r>
              <a:endParaRPr lang="ru-RU" sz="2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46858" y="1609842"/>
            <a:ext cx="6092933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Основные задачи регионального проекта </a:t>
            </a:r>
          </a:p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«Сохранение лесов»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го</a:t>
            </a:r>
            <a:r>
              <a:rPr lang="ru-RU" dirty="0" smtClean="0">
                <a:solidFill>
                  <a:prstClr val="black"/>
                </a:solidFill>
              </a:rPr>
              <a:t> проекта «Экология»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733309" y="1750208"/>
            <a:ext cx="5458691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Динамика объемов лесовосстановительных работ 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8602" y="5306449"/>
            <a:ext cx="11658598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В 2021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</a:t>
            </a:r>
            <a:r>
              <a:rPr lang="ru-RU" dirty="0" smtClean="0">
                <a:solidFill>
                  <a:prstClr val="black"/>
                </a:solidFill>
              </a:rPr>
              <a:t> выращено 4 157,0 </a:t>
            </a:r>
            <a:r>
              <a:rPr lang="ru-RU" dirty="0" err="1" smtClean="0">
                <a:solidFill>
                  <a:prstClr val="black"/>
                </a:solidFill>
              </a:rPr>
              <a:t>тыс.шт</a:t>
            </a:r>
            <a:r>
              <a:rPr lang="ru-RU" dirty="0" smtClean="0">
                <a:solidFill>
                  <a:prstClr val="black"/>
                </a:solidFill>
              </a:rPr>
              <a:t>. стандартного посадочного материала основных лесообразующих пород</a:t>
            </a:r>
          </a:p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В 2022 году планируется вырастить – 8 732,5 </a:t>
            </a:r>
            <a:r>
              <a:rPr lang="ru-RU" dirty="0" err="1" smtClean="0">
                <a:solidFill>
                  <a:prstClr val="black"/>
                </a:solidFill>
              </a:rPr>
              <a:t>тыс.шт</a:t>
            </a:r>
            <a:r>
              <a:rPr lang="ru-RU" dirty="0" smtClean="0">
                <a:solidFill>
                  <a:prstClr val="black"/>
                </a:solidFill>
              </a:rPr>
              <a:t>.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92732" y="919572"/>
            <a:ext cx="2691245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/>
              <a:t>В 2021 году показатель составил – </a:t>
            </a:r>
            <a:r>
              <a:rPr lang="ru-RU" b="1" dirty="0"/>
              <a:t>83,5</a:t>
            </a:r>
            <a:r>
              <a:rPr lang="ru-RU" b="1" dirty="0" smtClean="0"/>
              <a:t>%</a:t>
            </a:r>
            <a:endParaRPr lang="ru-RU" b="1" dirty="0"/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/>
          </p:nvPr>
        </p:nvGraphicFramePr>
        <p:xfrm>
          <a:off x="6906490" y="216560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8583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714" name="Object 6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5" y="1135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5" y="1135"/>
                        <a:ext cx="2268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4310">
              <a:spcBef>
                <a:spcPct val="0"/>
              </a:spcBef>
              <a:spcAft>
                <a:spcPct val="0"/>
              </a:spcAft>
              <a:defRPr/>
            </a:pPr>
            <a:endParaRPr lang="ru-RU" sz="2286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2733" y="141497"/>
            <a:ext cx="7777616" cy="703526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2286" dirty="0">
                <a:solidFill>
                  <a:schemeClr val="tx1"/>
                </a:solidFill>
                <a:cs typeface="Arial" panose="020B0604020202020204" pitchFamily="34" charset="0"/>
              </a:rPr>
              <a:t>УВЕЛИЧЕНИЕ ФИНАНСИРОВАНИЯ СНИЗИЛО ПЛОЩАДЬ ЛЕСНЫХ ПОЖАРОВ В 18 РАЗ</a:t>
            </a:r>
            <a:endParaRPr lang="ru-RU" sz="2286" dirty="0"/>
          </a:p>
        </p:txBody>
      </p:sp>
      <p:sp>
        <p:nvSpPr>
          <p:cNvPr id="73734" name="TextBox 98"/>
          <p:cNvSpPr txBox="1">
            <a:spLocks noChangeArrowheads="1"/>
          </p:cNvSpPr>
          <p:nvPr/>
        </p:nvSpPr>
        <p:spPr bwMode="auto">
          <a:xfrm>
            <a:off x="2951780" y="3726848"/>
            <a:ext cx="2821687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– количество лесных пожаров, шт.</a:t>
            </a:r>
            <a:endParaRPr lang="en-GB" sz="1200" b="1" dirty="0">
              <a:solidFill>
                <a:prstClr val="black">
                  <a:lumMod val="95000"/>
                  <a:lumOff val="5000"/>
                </a:prst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436100" y="1545615"/>
            <a:ext cx="667884" cy="199614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466628" y="2443153"/>
            <a:ext cx="667884" cy="109862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73741" name="TextBox 23"/>
          <p:cNvSpPr txBox="1">
            <a:spLocks noChangeArrowheads="1"/>
          </p:cNvSpPr>
          <p:nvPr/>
        </p:nvSpPr>
        <p:spPr bwMode="auto">
          <a:xfrm>
            <a:off x="2951779" y="4078586"/>
            <a:ext cx="2687872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– площадь, тыс. га</a:t>
            </a:r>
            <a:endParaRPr lang="en-GB" sz="1200" b="1" dirty="0">
              <a:solidFill>
                <a:prstClr val="black">
                  <a:lumMod val="95000"/>
                  <a:lumOff val="5000"/>
                </a:prst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743" name="TextBox 25"/>
          <p:cNvSpPr txBox="1">
            <a:spLocks noChangeArrowheads="1"/>
          </p:cNvSpPr>
          <p:nvPr/>
        </p:nvSpPr>
        <p:spPr bwMode="auto">
          <a:xfrm>
            <a:off x="3480519" y="2056149"/>
            <a:ext cx="640103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568,7</a:t>
            </a:r>
          </a:p>
        </p:txBody>
      </p:sp>
      <p:sp>
        <p:nvSpPr>
          <p:cNvPr id="115728" name="TextBox 32"/>
          <p:cNvSpPr txBox="1">
            <a:spLocks noChangeArrowheads="1"/>
          </p:cNvSpPr>
          <p:nvPr/>
        </p:nvSpPr>
        <p:spPr bwMode="auto">
          <a:xfrm>
            <a:off x="3013241" y="952094"/>
            <a:ext cx="1282474" cy="3561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r>
              <a:rPr lang="ru-RU" sz="1714" b="1" dirty="0">
                <a:solidFill>
                  <a:srgbClr val="000000"/>
                </a:solidFill>
                <a:cs typeface="Arial" panose="020B0604020202020204" pitchFamily="34" charset="0"/>
              </a:rPr>
              <a:t>2019 год</a:t>
            </a:r>
          </a:p>
        </p:txBody>
      </p:sp>
      <p:sp>
        <p:nvSpPr>
          <p:cNvPr id="115729" name="TextBox 33"/>
          <p:cNvSpPr txBox="1">
            <a:spLocks noChangeArrowheads="1"/>
          </p:cNvSpPr>
          <p:nvPr/>
        </p:nvSpPr>
        <p:spPr bwMode="auto">
          <a:xfrm>
            <a:off x="5661727" y="946285"/>
            <a:ext cx="1281339" cy="3561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r>
              <a:rPr lang="ru-RU" sz="1714" b="1" dirty="0">
                <a:solidFill>
                  <a:srgbClr val="000000"/>
                </a:solidFill>
                <a:cs typeface="Arial" panose="020B0604020202020204" pitchFamily="34" charset="0"/>
              </a:rPr>
              <a:t>2020 год</a:t>
            </a:r>
          </a:p>
        </p:txBody>
      </p:sp>
      <p:sp>
        <p:nvSpPr>
          <p:cNvPr id="115730" name="TextBox 34"/>
          <p:cNvSpPr txBox="1">
            <a:spLocks noChangeArrowheads="1"/>
          </p:cNvSpPr>
          <p:nvPr/>
        </p:nvSpPr>
        <p:spPr bwMode="auto">
          <a:xfrm>
            <a:off x="8398086" y="946285"/>
            <a:ext cx="1281339" cy="35612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r>
              <a:rPr lang="ru-RU" sz="1714" b="1" dirty="0">
                <a:solidFill>
                  <a:srgbClr val="000000"/>
                </a:solidFill>
                <a:cs typeface="Arial" panose="020B0604020202020204" pitchFamily="34" charset="0"/>
              </a:rPr>
              <a:t>2021 год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8206968" y="3185568"/>
            <a:ext cx="667884" cy="351848"/>
          </a:xfrm>
          <a:prstGeom prst="rect">
            <a:avLst/>
          </a:prstGeom>
          <a:solidFill>
            <a:srgbClr val="ADB8C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324517" y="2016625"/>
            <a:ext cx="667884" cy="1524361"/>
          </a:xfrm>
          <a:prstGeom prst="rect">
            <a:avLst/>
          </a:prstGeom>
          <a:solidFill>
            <a:srgbClr val="ADB8C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355045" y="3005604"/>
            <a:ext cx="667884" cy="53181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73751" name="TextBox 28"/>
          <p:cNvSpPr txBox="1">
            <a:spLocks noChangeArrowheads="1"/>
          </p:cNvSpPr>
          <p:nvPr/>
        </p:nvSpPr>
        <p:spPr bwMode="auto">
          <a:xfrm>
            <a:off x="6367328" y="2647036"/>
            <a:ext cx="643318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348,5</a:t>
            </a:r>
          </a:p>
        </p:txBody>
      </p:sp>
      <p:sp>
        <p:nvSpPr>
          <p:cNvPr id="115737" name="TextBox 26"/>
          <p:cNvSpPr txBox="1">
            <a:spLocks noChangeArrowheads="1"/>
          </p:cNvSpPr>
          <p:nvPr/>
        </p:nvSpPr>
        <p:spPr bwMode="auto">
          <a:xfrm>
            <a:off x="5352299" y="1656548"/>
            <a:ext cx="612321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849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70548" y="3488108"/>
            <a:ext cx="667884" cy="4571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115743" name="TextBox 54"/>
          <p:cNvSpPr txBox="1">
            <a:spLocks noChangeArrowheads="1"/>
          </p:cNvSpPr>
          <p:nvPr/>
        </p:nvSpPr>
        <p:spPr bwMode="auto">
          <a:xfrm>
            <a:off x="8234750" y="2814434"/>
            <a:ext cx="612321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253</a:t>
            </a:r>
          </a:p>
        </p:txBody>
      </p:sp>
      <p:sp>
        <p:nvSpPr>
          <p:cNvPr id="73761" name="TextBox 56"/>
          <p:cNvSpPr txBox="1">
            <a:spLocks noChangeArrowheads="1"/>
          </p:cNvSpPr>
          <p:nvPr/>
        </p:nvSpPr>
        <p:spPr bwMode="auto">
          <a:xfrm>
            <a:off x="9298330" y="3106739"/>
            <a:ext cx="612321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19,2</a:t>
            </a:r>
          </a:p>
        </p:txBody>
      </p:sp>
      <p:sp>
        <p:nvSpPr>
          <p:cNvPr id="7" name="Полилиния 6"/>
          <p:cNvSpPr/>
          <p:nvPr/>
        </p:nvSpPr>
        <p:spPr>
          <a:xfrm rot="552553">
            <a:off x="2134231" y="2123793"/>
            <a:ext cx="8078254" cy="311831"/>
          </a:xfrm>
          <a:custGeom>
            <a:avLst/>
            <a:gdLst>
              <a:gd name="connsiteX0" fmla="*/ 0 w 8666019"/>
              <a:gd name="connsiteY0" fmla="*/ 0 h 436418"/>
              <a:gd name="connsiteX1" fmla="*/ 8666019 w 8666019"/>
              <a:gd name="connsiteY1" fmla="*/ 436418 h 436418"/>
              <a:gd name="connsiteX2" fmla="*/ 8666019 w 8666019"/>
              <a:gd name="connsiteY2" fmla="*/ 436418 h 436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666019" h="436418">
                <a:moveTo>
                  <a:pt x="0" y="0"/>
                </a:moveTo>
                <a:lnTo>
                  <a:pt x="8666019" y="436418"/>
                </a:lnTo>
                <a:lnTo>
                  <a:pt x="8666019" y="436418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444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43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71987"/>
              </p:ext>
            </p:extLst>
          </p:nvPr>
        </p:nvGraphicFramePr>
        <p:xfrm>
          <a:off x="1392072" y="4800990"/>
          <a:ext cx="9539784" cy="1664367"/>
        </p:xfrm>
        <a:graphic>
          <a:graphicData uri="http://schemas.openxmlformats.org/drawingml/2006/table">
            <a:tbl>
              <a:tblPr/>
              <a:tblGrid>
                <a:gridCol w="1717625"/>
                <a:gridCol w="1601567"/>
                <a:gridCol w="1485515"/>
                <a:gridCol w="1585687"/>
                <a:gridCol w="1571030"/>
                <a:gridCol w="1578360"/>
              </a:tblGrid>
              <a:tr h="408849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Ликвидация пожаров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 первые сутки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</a:tr>
              <a:tr h="496619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0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</a:tr>
              <a:tr h="270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шт.</a:t>
                      </a: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шт.</a:t>
                      </a: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шт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C7D5"/>
                    </a:solidFill>
                  </a:tcPr>
                </a:tc>
              </a:tr>
              <a:tr h="48830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,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57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6,3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3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3738" name="TextBox 99"/>
          <p:cNvSpPr txBox="1">
            <a:spLocks noChangeArrowheads="1"/>
          </p:cNvSpPr>
          <p:nvPr/>
        </p:nvSpPr>
        <p:spPr bwMode="auto">
          <a:xfrm>
            <a:off x="2463880" y="1187349"/>
            <a:ext cx="612321" cy="312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9" b="1" dirty="0">
                <a:solidFill>
                  <a:srgbClr val="000000"/>
                </a:solidFill>
                <a:cs typeface="Arial" panose="020B0604020202020204" pitchFamily="34" charset="0"/>
              </a:rPr>
              <a:t>959</a:t>
            </a:r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48817" y="3757808"/>
            <a:ext cx="242451" cy="312265"/>
          </a:xfrm>
          <a:prstGeom prst="rect">
            <a:avLst/>
          </a:prstGeom>
          <a:solidFill>
            <a:srgbClr val="B3BBCB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endParaRPr lang="ru-RU" sz="1429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7" name="TextBox 26"/>
          <p:cNvSpPr txBox="1">
            <a:spLocks noChangeArrowheads="1"/>
          </p:cNvSpPr>
          <p:nvPr/>
        </p:nvSpPr>
        <p:spPr bwMode="auto">
          <a:xfrm>
            <a:off x="2648816" y="4095469"/>
            <a:ext cx="242451" cy="312265"/>
          </a:xfrm>
          <a:prstGeom prst="rect">
            <a:avLst/>
          </a:prstGeom>
          <a:solidFill>
            <a:srgbClr val="CDBFA8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324310" fontAlgn="base">
              <a:spcBef>
                <a:spcPct val="0"/>
              </a:spcBef>
              <a:spcAft>
                <a:spcPct val="0"/>
              </a:spcAft>
            </a:pPr>
            <a:endParaRPr lang="ru-RU" sz="1429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48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714" name="Object 6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5" y="1135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5" y="1135"/>
                        <a:ext cx="2268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4310">
              <a:spcBef>
                <a:spcPct val="0"/>
              </a:spcBef>
              <a:spcAft>
                <a:spcPct val="0"/>
              </a:spcAft>
              <a:defRPr/>
            </a:pPr>
            <a:endParaRPr lang="ru-RU" sz="2286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9591" y="192398"/>
            <a:ext cx="7820722" cy="646331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2100" dirty="0">
                <a:solidFill>
                  <a:schemeClr val="tx1"/>
                </a:solidFill>
                <a:cs typeface="Arial" panose="020B0604020202020204" pitchFamily="34" charset="0"/>
              </a:rPr>
              <a:t>МЕРОПРИЯТИЯ ПО ПОДГОТОВКЕ К ПОЖАРООПАСНОМУ СЕЗОНУ 2022 ГОДА ВЫПОЛНЕНЫ НА 98 %</a:t>
            </a:r>
            <a:endParaRPr lang="ru-RU" sz="2100" dirty="0"/>
          </a:p>
        </p:txBody>
      </p:sp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6761127"/>
              </p:ext>
            </p:extLst>
          </p:nvPr>
        </p:nvGraphicFramePr>
        <p:xfrm>
          <a:off x="1173706" y="1017009"/>
          <a:ext cx="10099344" cy="5666287"/>
        </p:xfrm>
        <a:graphic>
          <a:graphicData uri="http://schemas.openxmlformats.org/drawingml/2006/table">
            <a:tbl>
              <a:tblPr/>
              <a:tblGrid>
                <a:gridCol w="3949322"/>
                <a:gridCol w="1296312"/>
                <a:gridCol w="3668062"/>
                <a:gridCol w="1185648"/>
              </a:tblGrid>
              <a:tr h="6025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троительство дорог противопожарного назначен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троительство пожарных наблюдательных пункто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2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конструкция дорог противопожарного назначения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2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Эксплуатация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пожарных наблюдательных пунктов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Эксплуатация лесных дорог противопожарного назначения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6,2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ведение контролируемых выжиганий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2,3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стройство противопожарных разрывов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,4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лагоустройство зон отдыха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чистка противопожарных разрывов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становка шлагбаумов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стройство минерализованных полос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8,6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становка аншлагов, стендов, плакатов, баннеров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чистка минерализованных полос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аспространение листовок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23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Устройство подъездов к водоисточникам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Эксплуатация ПСПИ</a:t>
                      </a: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4" marR="9524" marT="952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1273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714" name="Object 6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5" y="1135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5" y="1135"/>
                        <a:ext cx="2268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4310">
              <a:spcBef>
                <a:spcPct val="0"/>
              </a:spcBef>
              <a:spcAft>
                <a:spcPct val="0"/>
              </a:spcAft>
              <a:defRPr/>
            </a:pPr>
            <a:endParaRPr lang="ru-RU" sz="2286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9591" y="353981"/>
            <a:ext cx="7820722" cy="323165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2100" dirty="0">
                <a:solidFill>
                  <a:schemeClr val="tx1"/>
                </a:solidFill>
                <a:cs typeface="Arial" panose="020B0604020202020204" pitchFamily="34" charset="0"/>
              </a:rPr>
              <a:t>ПОДГОТОВКА К ПОЖАРООПАСНОМУ СЕЗОНУ 2022 ГОДА </a:t>
            </a:r>
            <a:endParaRPr lang="ru-RU" sz="21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673776" y="1415543"/>
          <a:ext cx="8763766" cy="4174936"/>
        </p:xfrm>
        <a:graphic>
          <a:graphicData uri="http://schemas.openxmlformats.org/drawingml/2006/table">
            <a:tbl>
              <a:tblPr/>
              <a:tblGrid>
                <a:gridCol w="1436683"/>
                <a:gridCol w="646507"/>
                <a:gridCol w="2011356"/>
                <a:gridCol w="1364849"/>
                <a:gridCol w="1724019"/>
                <a:gridCol w="862010"/>
                <a:gridCol w="718342"/>
              </a:tblGrid>
              <a:tr h="1070496">
                <a:tc gridSpan="2"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Наименование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КГСАУ "Забайкаллесхоз"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КГУ "Читинская авиабаза"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ривлекаемые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Всего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776110">
                <a:tc rowSpan="2"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Личный состав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лан</a:t>
                      </a:r>
                      <a:endParaRPr lang="ru-RU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056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266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172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494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71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761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акт</a:t>
                      </a:r>
                      <a:endParaRPr lang="ru-RU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445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145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172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762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2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D27A3"/>
                    </a:solidFill>
                  </a:tcPr>
                </a:tc>
              </a:tr>
              <a:tr h="776110">
                <a:tc rowSpan="2"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Техника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лан</a:t>
                      </a:r>
                      <a:endParaRPr lang="ru-RU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412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9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14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965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97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761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Факт</a:t>
                      </a:r>
                      <a:endParaRPr lang="ru-RU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83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9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14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4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29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33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577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22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866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10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155" algn="l" defTabSz="914290" rtl="0" eaLnBrk="1" latinLnBrk="0" hangingPunct="1">
                        <a:defRPr sz="1786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26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936</a:t>
                      </a:r>
                      <a:r>
                        <a:rPr lang="ru-RU" sz="26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2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2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D27A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216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134" y="1135"/>
          <a:ext cx="113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34" y="1135"/>
                        <a:ext cx="113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7001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80">
              <a:defRPr/>
            </a:pPr>
            <a:endParaRPr lang="ru-RU" sz="1429" b="1" dirty="0">
              <a:solidFill>
                <a:prstClr val="white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3260" y="251611"/>
            <a:ext cx="8014607" cy="351763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767981">
              <a:lnSpc>
                <a:spcPct val="100000"/>
              </a:lnSpc>
              <a:defRPr/>
            </a:pPr>
            <a:r>
              <a:rPr lang="ru-RU" sz="2286" dirty="0"/>
              <a:t>ЗАКУП ЛЕСОПОЖАРНОЙ ТЕХНИКИ И ОБОРУДОВАНИЯ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102138"/>
              </p:ext>
            </p:extLst>
          </p:nvPr>
        </p:nvGraphicFramePr>
        <p:xfrm>
          <a:off x="1682750" y="1665012"/>
          <a:ext cx="8829902" cy="1536480"/>
        </p:xfrm>
        <a:graphic>
          <a:graphicData uri="http://schemas.openxmlformats.org/drawingml/2006/table">
            <a:tbl>
              <a:tblPr/>
              <a:tblGrid>
                <a:gridCol w="2318068"/>
                <a:gridCol w="1305780"/>
                <a:gridCol w="1228970"/>
                <a:gridCol w="1143626"/>
                <a:gridCol w="1075349"/>
                <a:gridCol w="1758109"/>
              </a:tblGrid>
              <a:tr h="5427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Наименовани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19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20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21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сего за </a:t>
                      </a:r>
                    </a:p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 года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Запланировано на 2022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</a:tr>
              <a:tr h="4900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Лесопожарная техника, ед.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72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1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74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77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93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Лесопожарное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борудование, ед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C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61</a:t>
                      </a:r>
                      <a:r>
                        <a:rPr lang="ru-RU" sz="17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6</a:t>
                      </a: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 208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 59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 42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724" marR="6724" marT="67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1662340" y="961056"/>
            <a:ext cx="8850313" cy="6051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r>
              <a:rPr lang="ru-RU" altLang="ru-RU" sz="1714" b="1" dirty="0">
                <a:solidFill>
                  <a:srgbClr val="000000"/>
                </a:solidFill>
                <a:cs typeface="Times New Roman" panose="02020603050405020304" pitchFamily="18" charset="0"/>
              </a:rPr>
              <a:t>В рамках реализации регионального проекта </a:t>
            </a: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ru-RU" altLang="ru-RU" sz="1714" b="1" dirty="0">
                <a:solidFill>
                  <a:srgbClr val="000000"/>
                </a:solidFill>
                <a:cs typeface="Times New Roman" panose="02020603050405020304" pitchFamily="18" charset="0"/>
              </a:rPr>
              <a:t>«СОХРАНЕНИЕ ЛЕСОВ» закуплено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662340" y="5886844"/>
            <a:ext cx="8850313" cy="9129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76795" tIns="38398" rIns="76795" bIns="38398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r>
              <a:rPr lang="ru-RU" altLang="ru-RU" sz="1714" b="1" dirty="0">
                <a:solidFill>
                  <a:srgbClr val="000000"/>
                </a:solidFill>
                <a:cs typeface="Times New Roman" panose="02020603050405020304" pitchFamily="18" charset="0"/>
              </a:rPr>
              <a:t>Показатель регионального проекта «Оснащение специализированных учреждений лесопожарной техникой» Забайкальским краем достигнут –  </a:t>
            </a: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ru-RU" altLang="ru-RU" sz="2000" b="1" dirty="0">
                <a:solidFill>
                  <a:srgbClr val="000000"/>
                </a:solidFill>
                <a:cs typeface="Times New Roman" panose="02020603050405020304" pitchFamily="18" charset="0"/>
              </a:rPr>
              <a:t>87</a:t>
            </a:r>
            <a:r>
              <a:rPr lang="ru-RU" altLang="ru-RU" sz="1714" b="1" dirty="0">
                <a:solidFill>
                  <a:srgbClr val="000000"/>
                </a:solidFill>
                <a:cs typeface="Times New Roman" panose="02020603050405020304" pitchFamily="18" charset="0"/>
              </a:rPr>
              <a:t> % (в соответствии с планом на 2021 год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339" y="3254582"/>
            <a:ext cx="4585196" cy="257917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" t="590" r="11780"/>
          <a:stretch/>
        </p:blipFill>
        <p:spPr>
          <a:xfrm>
            <a:off x="6519575" y="3257688"/>
            <a:ext cx="3993078" cy="257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70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5" y="1135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6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5" y="1135"/>
                        <a:ext cx="2268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spcBef>
                <a:spcPct val="0"/>
              </a:spcBef>
              <a:spcAft>
                <a:spcPct val="0"/>
              </a:spcAft>
              <a:defRPr/>
            </a:pPr>
            <a:endParaRPr lang="ru-RU" sz="2286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0983" y="62317"/>
            <a:ext cx="7900373" cy="857351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857" dirty="0"/>
              <a:t>УВЕЛИЧЕНИЕ КРАТНОСТИ РЕЙДОВЫХ МЕРОПРИЯТИЙ И ИХ КАЧЕСТВО ПРИВЕЛО К СОКРАЩЕНИЮ ВРЕДА ПРИЧИНЕННОГО ЛЕСНОМУ ФОНДУ</a:t>
            </a:r>
          </a:p>
        </p:txBody>
      </p:sp>
      <p:sp>
        <p:nvSpPr>
          <p:cNvPr id="2765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122715" y="1576161"/>
            <a:ext cx="579438" cy="234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1279525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58850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600200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239963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879725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3369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7941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2513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7085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1714" b="1">
              <a:solidFill>
                <a:srgbClr val="000000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887993" y="4640036"/>
            <a:ext cx="8612187" cy="76767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Увеличение кратности рейдовых мероприятий позволит выявить </a:t>
            </a:r>
            <a:r>
              <a:rPr lang="ru-RU" sz="1429" b="1" dirty="0" err="1">
                <a:solidFill>
                  <a:prstClr val="black"/>
                </a:solidFill>
              </a:rPr>
              <a:t>лесонарушения</a:t>
            </a:r>
            <a:r>
              <a:rPr lang="ru-RU" sz="1429" b="1" dirty="0">
                <a:solidFill>
                  <a:prstClr val="black"/>
                </a:solidFill>
              </a:rPr>
              <a:t> на более ранних стадиях и тем самым сократить объём незаконно заготовленной древесины, а так же повысить </a:t>
            </a:r>
            <a:r>
              <a:rPr lang="ru-RU" sz="1429" b="1" dirty="0" err="1">
                <a:solidFill>
                  <a:prstClr val="black"/>
                </a:solidFill>
              </a:rPr>
              <a:t>выявляемость</a:t>
            </a:r>
            <a:endParaRPr lang="ru-RU" sz="1429" b="1" dirty="0">
              <a:solidFill>
                <a:prstClr val="black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85569" y="3366634"/>
            <a:ext cx="8612187" cy="74045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	Число случаев сократилось на 29 %;</a:t>
            </a:r>
          </a:p>
          <a:p>
            <a:pPr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	Объём незаконно заготовленной древесины снизился на 50 %;</a:t>
            </a:r>
          </a:p>
          <a:p>
            <a:pPr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	Ущерб от незаконных рубок лесных насаждений снизился на 42%. </a:t>
            </a:r>
          </a:p>
        </p:txBody>
      </p:sp>
      <p:graphicFrame>
        <p:nvGraphicFramePr>
          <p:cNvPr id="19" name="Объект 4"/>
          <p:cNvGraphicFramePr>
            <a:graphicFrameLocks noGrp="1"/>
          </p:cNvGraphicFramePr>
          <p:nvPr>
            <p:extLst/>
          </p:nvPr>
        </p:nvGraphicFramePr>
        <p:xfrm>
          <a:off x="1873250" y="1001259"/>
          <a:ext cx="8612188" cy="2310778"/>
        </p:xfrm>
        <a:graphic>
          <a:graphicData uri="http://schemas.openxmlformats.org/drawingml/2006/table">
            <a:tbl>
              <a:tblPr/>
              <a:tblGrid>
                <a:gridCol w="5010831"/>
                <a:gridCol w="1033009"/>
                <a:gridCol w="1283607"/>
                <a:gridCol w="1284741"/>
              </a:tblGrid>
              <a:tr h="515307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казатель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ед.</a:t>
                      </a:r>
                      <a:endParaRPr kumimoji="0" lang="ru-RU" sz="17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м.</a:t>
                      </a:r>
                      <a:endParaRPr kumimoji="0" lang="ru-RU" sz="17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0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1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случаев незаконных рубок лесных насаждений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405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4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бъём незаконно заготовленной древесины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ыс. м</a:t>
                      </a:r>
                      <a:r>
                        <a:rPr kumimoji="0" lang="ru-RU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0,66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8,6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щерб от незаконных рубок лесных насаждений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лн. руб.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15,45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7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правлено материалов в правоохранительные органы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69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46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озбуждено уголовных дел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.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8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546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  <a:tr h="266474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ивлечено к уголовной ответственности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5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10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CBC"/>
                    </a:solidFill>
                  </a:tcPr>
                </a:tc>
              </a:tr>
            </a:tbl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1887993" y="5474608"/>
            <a:ext cx="2465161" cy="13198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Повысить коэффициент возмещения ущерба от нарушений лесного законодательств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544787" y="5474608"/>
            <a:ext cx="2680607" cy="13198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Усилить межведомственное взаимодействие направленное на пресечение деятельности преступных группировок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417028" y="5474608"/>
            <a:ext cx="3083151" cy="13198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Информирование граждан </a:t>
            </a:r>
          </a:p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через СМИ о проведении мероприятий, направленных</a:t>
            </a:r>
          </a:p>
          <a:p>
            <a:pPr algn="ctr" defTabSz="685814">
              <a:defRPr/>
            </a:pPr>
            <a:r>
              <a:rPr lang="ru-RU" sz="1429" b="1" dirty="0">
                <a:solidFill>
                  <a:prstClr val="black"/>
                </a:solidFill>
              </a:rPr>
              <a:t> на пресечение незаконной заготовки и оборота древесины</a:t>
            </a:r>
          </a:p>
        </p:txBody>
      </p:sp>
      <p:sp>
        <p:nvSpPr>
          <p:cNvPr id="26" name="Выгнутая влево стрелка 25"/>
          <p:cNvSpPr/>
          <p:nvPr/>
        </p:nvSpPr>
        <p:spPr>
          <a:xfrm>
            <a:off x="1634815" y="3617233"/>
            <a:ext cx="472335" cy="1474107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lIns="68554" tIns="34278" rIns="68554" bIns="34278" anchor="ctr"/>
          <a:lstStyle/>
          <a:p>
            <a:pPr algn="ctr" defTabSz="685555">
              <a:defRPr/>
            </a:pPr>
            <a:endParaRPr lang="ru-RU" sz="1286" kern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887993" y="4145643"/>
            <a:ext cx="8612187" cy="4172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714" b="1" dirty="0">
                <a:solidFill>
                  <a:prstClr val="black"/>
                </a:solidFill>
              </a:rPr>
              <a:t>Прогноз </a:t>
            </a:r>
            <a:r>
              <a:rPr lang="ru-RU" sz="1714" b="1" dirty="0" smtClean="0">
                <a:solidFill>
                  <a:prstClr val="black"/>
                </a:solidFill>
              </a:rPr>
              <a:t>2022 </a:t>
            </a:r>
            <a:r>
              <a:rPr lang="ru-RU" sz="1714" b="1" dirty="0">
                <a:solidFill>
                  <a:prstClr val="black"/>
                </a:solidFill>
              </a:rPr>
              <a:t>года</a:t>
            </a:r>
          </a:p>
        </p:txBody>
      </p:sp>
    </p:spTree>
    <p:extLst>
      <p:ext uri="{BB962C8B-B14F-4D97-AF65-F5344CB8AC3E}">
        <p14:creationId xmlns:p14="http://schemas.microsoft.com/office/powerpoint/2010/main" val="2599143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35" y="1135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8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135" y="1135"/>
                        <a:ext cx="2268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578">
              <a:spcBef>
                <a:spcPct val="0"/>
              </a:spcBef>
              <a:spcAft>
                <a:spcPct val="0"/>
              </a:spcAft>
              <a:defRPr/>
            </a:pPr>
            <a:endParaRPr lang="ru-RU" sz="2286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2652" y="25465"/>
            <a:ext cx="8028214" cy="857351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914418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1857" dirty="0"/>
              <a:t>ПОКАЗАТЕЛИ КОНТРОЛЬНО-НАДЗОРНОЙ ДЕЯТЕЛЬНОСТИ В ОТНОШЕНИИ ВЛАДЕЛЬЦЕВ ПУНКТОВ ПРИЕМА И ОТГРУЗКИ ДРЕВЕСИНЫ</a:t>
            </a:r>
          </a:p>
        </p:txBody>
      </p:sp>
      <p:sp>
        <p:nvSpPr>
          <p:cNvPr id="25606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122715" y="1576161"/>
            <a:ext cx="579438" cy="234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1279525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58850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600200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239963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879725" indent="-319088" defTabSz="1279525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3369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7941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2513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708525" indent="-319088" defTabSz="1279525" eaLnBrk="0" fontAlgn="base" hangingPunct="0">
              <a:lnSpc>
                <a:spcPct val="90000"/>
              </a:lnSpc>
              <a:spcBef>
                <a:spcPts val="7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5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1714" b="1">
              <a:solidFill>
                <a:srgbClr val="000000"/>
              </a:solidFill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1631724" y="1011045"/>
          <a:ext cx="5988276" cy="5734437"/>
        </p:xfrm>
        <a:graphic>
          <a:graphicData uri="http://schemas.openxmlformats.org/drawingml/2006/table">
            <a:tbl>
              <a:tblPr/>
              <a:tblGrid>
                <a:gridCol w="2790716"/>
                <a:gridCol w="775375"/>
                <a:gridCol w="775579"/>
                <a:gridCol w="836923"/>
                <a:gridCol w="809683"/>
              </a:tblGrid>
              <a:tr h="621383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18 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19 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0 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21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D0D0D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</a:tr>
              <a:tr h="592739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оведено проверок (в том числе совместных)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7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4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09413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озбуждено административных дел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080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13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4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2091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ложено административных взысканий:   предупреждений                   </a:t>
                      </a:r>
                    </a:p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трафов</a:t>
                      </a:r>
                    </a:p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 сумму (тыс. руб.)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43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601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55223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58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82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9878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8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9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3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2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0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64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72533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зыскано штрафов (тыс. руб.)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224,7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854,2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151,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355,0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9989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озбуждено Забайкальским ЛУ МВД России на транспорте уголовных дел по ст. 226.1 УК РФ, 191.1 УК РФ с использованием материалов, подготовленных Министерством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9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585163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реднемесячное количество пунктов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30</a:t>
                      </a:r>
                    </a:p>
                  </a:txBody>
                  <a:tcPr marL="7144" marR="7144" marT="714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27</a:t>
                      </a:r>
                    </a:p>
                  </a:txBody>
                  <a:tcPr marL="7144" marR="7144" marT="714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75</a:t>
                      </a:r>
                    </a:p>
                  </a:txBody>
                  <a:tcPr marL="7144" marR="7144" marT="714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50</a:t>
                      </a:r>
                    </a:p>
                  </a:txBody>
                  <a:tcPr marL="7144" marR="7144" marT="714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32399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гружено на внешний рынок (тыс. м</a:t>
                      </a:r>
                      <a:r>
                        <a:rPr kumimoji="0" lang="ru-RU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) всего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74,8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57,9</a:t>
                      </a: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8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15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79" marR="68579" marT="34297" marB="3429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663" name="Диаграмма 23"/>
          <p:cNvGraphicFramePr>
            <a:graphicFrameLocks/>
          </p:cNvGraphicFramePr>
          <p:nvPr/>
        </p:nvGraphicFramePr>
        <p:xfrm>
          <a:off x="7549698" y="1576161"/>
          <a:ext cx="3010581" cy="16884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839" name="Диаграмма" r:id="rId10" imgW="4224894" imgH="2371550" progId="Excel.Chart.8">
                  <p:embed/>
                </p:oleObj>
              </mc:Choice>
              <mc:Fallback>
                <p:oleObj name="Диаграмма" r:id="rId10" imgW="4224894" imgH="237155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9698" y="1576161"/>
                        <a:ext cx="3010581" cy="16884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hape 11"/>
          <p:cNvSpPr/>
          <p:nvPr/>
        </p:nvSpPr>
        <p:spPr>
          <a:xfrm rot="2564542">
            <a:off x="8513537" y="1662340"/>
            <a:ext cx="1513795" cy="595313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Прямоугольник 13"/>
          <p:cNvSpPr/>
          <p:nvPr/>
        </p:nvSpPr>
        <p:spPr>
          <a:xfrm>
            <a:off x="7681232" y="1001261"/>
            <a:ext cx="2897188" cy="42862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143" b="1" dirty="0">
                <a:solidFill>
                  <a:prstClr val="black"/>
                </a:solidFill>
              </a:rPr>
              <a:t>Объем поставки древесины на внешний рынок, тыс. м</a:t>
            </a:r>
            <a:r>
              <a:rPr lang="ru-RU" sz="1143" b="1" baseline="30000" dirty="0">
                <a:solidFill>
                  <a:prstClr val="black"/>
                </a:solidFill>
              </a:rPr>
              <a:t>3</a:t>
            </a:r>
            <a:endParaRPr lang="ru-RU" sz="1143" b="1" dirty="0">
              <a:solidFill>
                <a:prstClr val="black"/>
              </a:solidFill>
            </a:endParaRPr>
          </a:p>
        </p:txBody>
      </p:sp>
      <p:graphicFrame>
        <p:nvGraphicFramePr>
          <p:cNvPr id="25666" name="Диаграмма 28"/>
          <p:cNvGraphicFramePr>
            <a:graphicFrameLocks/>
          </p:cNvGraphicFramePr>
          <p:nvPr/>
        </p:nvGraphicFramePr>
        <p:xfrm>
          <a:off x="7447644" y="3458484"/>
          <a:ext cx="3220357" cy="14502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840" name="Диаграмма" r:id="rId13" imgW="4511431" imgH="2036240" progId="Excel.Chart.8">
                  <p:embed/>
                </p:oleObj>
              </mc:Choice>
              <mc:Fallback>
                <p:oleObj name="Диаграмма" r:id="rId13" imgW="4511431" imgH="203624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47644" y="3458484"/>
                        <a:ext cx="3220357" cy="14502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7681232" y="3083153"/>
            <a:ext cx="2897188" cy="42749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143" b="1" dirty="0">
                <a:solidFill>
                  <a:prstClr val="black"/>
                </a:solidFill>
              </a:rPr>
              <a:t>Количество пунктов приема и отгрузки древесины</a:t>
            </a:r>
          </a:p>
        </p:txBody>
      </p:sp>
      <p:sp>
        <p:nvSpPr>
          <p:cNvPr id="21" name="Shape 20"/>
          <p:cNvSpPr/>
          <p:nvPr/>
        </p:nvSpPr>
        <p:spPr>
          <a:xfrm rot="2564542">
            <a:off x="8916082" y="3587751"/>
            <a:ext cx="1514929" cy="595313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aphicFrame>
        <p:nvGraphicFramePr>
          <p:cNvPr id="25670" name="Диаграмма 6"/>
          <p:cNvGraphicFramePr>
            <a:graphicFrameLocks/>
          </p:cNvGraphicFramePr>
          <p:nvPr>
            <p:extLst/>
          </p:nvPr>
        </p:nvGraphicFramePr>
        <p:xfrm>
          <a:off x="7681233" y="4822340"/>
          <a:ext cx="2907393" cy="19231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841" name="Диаграмма" r:id="rId16" imgW="4072481" imgH="2700762" progId="Excel.Chart.8">
                  <p:embed/>
                </p:oleObj>
              </mc:Choice>
              <mc:Fallback>
                <p:oleObj name="Диаграмма" r:id="rId16" imgW="4072481" imgH="270076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81233" y="4822340"/>
                        <a:ext cx="2907393" cy="19231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8310837" y="5310643"/>
            <a:ext cx="372247" cy="228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000" b="1" dirty="0">
                <a:solidFill>
                  <a:prstClr val="black"/>
                </a:solidFill>
              </a:rPr>
              <a:t>3%</a:t>
            </a:r>
          </a:p>
        </p:txBody>
      </p:sp>
      <p:cxnSp>
        <p:nvCxnSpPr>
          <p:cNvPr id="4" name="Прямая соединительная линия 3"/>
          <p:cNvCxnSpPr>
            <a:stCxn id="17" idx="3"/>
          </p:cNvCxnSpPr>
          <p:nvPr/>
        </p:nvCxnSpPr>
        <p:spPr>
          <a:xfrm>
            <a:off x="8683083" y="5424943"/>
            <a:ext cx="343586" cy="1365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9346444" y="5783912"/>
            <a:ext cx="399723" cy="127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9673546" y="5555313"/>
            <a:ext cx="475785" cy="228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14">
              <a:defRPr/>
            </a:pPr>
            <a:r>
              <a:rPr lang="ru-RU" sz="1000" b="1" dirty="0">
                <a:solidFill>
                  <a:prstClr val="black"/>
                </a:solidFill>
              </a:rPr>
              <a:t>97%</a:t>
            </a:r>
          </a:p>
        </p:txBody>
      </p:sp>
    </p:spTree>
    <p:extLst>
      <p:ext uri="{BB962C8B-B14F-4D97-AF65-F5344CB8AC3E}">
        <p14:creationId xmlns:p14="http://schemas.microsoft.com/office/powerpoint/2010/main" val="151910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88098" y="406032"/>
            <a:ext cx="7166234" cy="800152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r>
              <a:rPr lang="ru-RU" sz="2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задачи в области лесных </a:t>
            </a:r>
            <a:r>
              <a:rPr lang="ru-RU" sz="2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й</a:t>
            </a:r>
            <a:r>
              <a:rPr lang="en-US" sz="2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2022 год</a:t>
            </a:r>
            <a:endParaRPr lang="ru-RU" sz="23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08142395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32952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69471" y="242938"/>
            <a:ext cx="7067377" cy="646264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ЦЕЛИ ДЕЯТЕЛЬНОСТИ МИНИСТЕРСТВА ПРИРОДНЫХ РЕСУРСОВ ЗАБАЙКАЛЬСКОГО КРАЯ </a:t>
            </a:r>
            <a:endParaRPr lang="ru-RU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843605610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3527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50784" y="110347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88098" y="406032"/>
            <a:ext cx="7455802" cy="446209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r>
              <a:rPr lang="ru-RU" sz="2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</a:t>
            </a:r>
            <a:r>
              <a:rPr lang="ru-RU" sz="2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в области </a:t>
            </a:r>
            <a:r>
              <a:rPr lang="ru-RU" sz="23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ных </a:t>
            </a:r>
            <a:r>
              <a:rPr lang="ru-RU" sz="2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й</a:t>
            </a:r>
            <a:endParaRPr lang="ru-RU" sz="23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707443647"/>
              </p:ext>
            </p:extLst>
          </p:nvPr>
        </p:nvGraphicFramePr>
        <p:xfrm>
          <a:off x="495300" y="1924050"/>
          <a:ext cx="11079869" cy="4629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1066800" y="1020449"/>
            <a:ext cx="9486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678"/>
            <a:r>
              <a:rPr lang="ru-RU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Цели: </a:t>
            </a:r>
            <a:r>
              <a:rPr lang="ru-RU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Защита населенных пунктов от наводнений, </a:t>
            </a:r>
            <a:r>
              <a:rPr lang="ru-RU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сохранение водных </a:t>
            </a:r>
            <a:r>
              <a:rPr lang="ru-RU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биологических ресурсов</a:t>
            </a:r>
          </a:p>
        </p:txBody>
      </p:sp>
    </p:spTree>
    <p:extLst>
      <p:ext uri="{BB962C8B-B14F-4D97-AF65-F5344CB8AC3E}">
        <p14:creationId xmlns:p14="http://schemas.microsoft.com/office/powerpoint/2010/main" val="41990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3004" y="286467"/>
            <a:ext cx="7926502" cy="601891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chemeClr val="tx1"/>
                </a:solidFill>
              </a:rPr>
              <a:t>В области водных отношений (2021 год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711858" y="934865"/>
            <a:ext cx="8795155" cy="9497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тложные аварийно-восстановительные работы (резервный фонд Правительства РФ)</a:t>
            </a:r>
          </a:p>
          <a:p>
            <a:pPr algn="ctr" defTabSz="326578"/>
            <a:r>
              <a:rPr lang="ru-RU" sz="1286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86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 объектах (в 13 муниципальных районах) 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286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8,36 </a:t>
            </a:r>
            <a:r>
              <a:rPr lang="ru-RU" sz="1286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лей: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ойство 25 временных дамб протяженностью 23,5 км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ойство крепления берега 21 объект протяженностью 16,6 км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ойство каналов отвода воды 14 объектов протяженностью 18,3 км</a:t>
            </a:r>
            <a:endParaRPr lang="ru-RU" sz="1000" dirty="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2"/>
          <a:stretch>
            <a:fillRect/>
          </a:stretch>
        </p:blipFill>
        <p:spPr>
          <a:xfrm>
            <a:off x="1711854" y="1916829"/>
            <a:ext cx="2916870" cy="223540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3" name="TextBox 2"/>
          <p:cNvSpPr txBox="1"/>
          <p:nvPr/>
        </p:nvSpPr>
        <p:spPr>
          <a:xfrm>
            <a:off x="1711855" y="3770467"/>
            <a:ext cx="29168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нышевский район, Устройство крепления берега в   с.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юм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 р. Белый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юм</a:t>
            </a:r>
            <a:endParaRPr lang="ru-RU" sz="10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/>
          <p:nvPr/>
        </p:nvPicPr>
        <p:blipFill>
          <a:blip r:embed="rId3"/>
          <a:stretch>
            <a:fillRect/>
          </a:stretch>
        </p:blipFill>
        <p:spPr>
          <a:xfrm>
            <a:off x="4812790" y="1916829"/>
            <a:ext cx="2828674" cy="223540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4812790" y="3770467"/>
            <a:ext cx="282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тенский район, Устройство крепления берега в с. Верхние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арки</a:t>
            </a:r>
            <a:endParaRPr lang="ru-RU" sz="10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AutoShape 2" descr="blob:https://web.whatsapp.com/b48320f3-1bc2-4511-93fe-a3cbb6382425"/>
          <p:cNvSpPr>
            <a:spLocks noChangeAspect="1" noChangeArrowheads="1"/>
          </p:cNvSpPr>
          <p:nvPr/>
        </p:nvSpPr>
        <p:spPr bwMode="auto">
          <a:xfrm>
            <a:off x="1635125" y="-103188"/>
            <a:ext cx="217714" cy="21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5314" tIns="32657" rIns="65314" bIns="32657" numCol="1" anchor="t" anchorCtr="0" compatLnSpc="1">
            <a:prstTxWarp prst="textNoShape">
              <a:avLst/>
            </a:prstTxWarp>
          </a:bodyPr>
          <a:lstStyle/>
          <a:p>
            <a:pPr defTabSz="326578"/>
            <a:endParaRPr lang="ru-RU" sz="1286">
              <a:solidFill>
                <a:prstClr val="black"/>
              </a:solidFill>
            </a:endParaRPr>
          </a:p>
        </p:txBody>
      </p:sp>
      <p:sp>
        <p:nvSpPr>
          <p:cNvPr id="6" name="AutoShape 4" descr="blob:https://web.whatsapp.com/b48320f3-1bc2-4511-93fe-a3cbb6382425"/>
          <p:cNvSpPr>
            <a:spLocks noChangeAspect="1" noChangeArrowheads="1"/>
          </p:cNvSpPr>
          <p:nvPr/>
        </p:nvSpPr>
        <p:spPr bwMode="auto">
          <a:xfrm>
            <a:off x="1743982" y="5670"/>
            <a:ext cx="217714" cy="21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5314" tIns="32657" rIns="65314" bIns="32657" numCol="1" anchor="t" anchorCtr="0" compatLnSpc="1">
            <a:prstTxWarp prst="textNoShape">
              <a:avLst/>
            </a:prstTxWarp>
          </a:bodyPr>
          <a:lstStyle/>
          <a:p>
            <a:pPr defTabSz="326578"/>
            <a:endParaRPr lang="ru-RU" sz="1286">
              <a:solidFill>
                <a:prstClr val="black"/>
              </a:solidFill>
            </a:endParaRPr>
          </a:p>
        </p:txBody>
      </p:sp>
      <p:pic>
        <p:nvPicPr>
          <p:cNvPr id="20" name="Рисунок 19"/>
          <p:cNvPicPr/>
          <p:nvPr/>
        </p:nvPicPr>
        <p:blipFill>
          <a:blip r:embed="rId4"/>
          <a:stretch>
            <a:fillRect/>
          </a:stretch>
        </p:blipFill>
        <p:spPr>
          <a:xfrm>
            <a:off x="7816249" y="1916830"/>
            <a:ext cx="2690764" cy="2235404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</p:pic>
      <p:sp>
        <p:nvSpPr>
          <p:cNvPr id="22" name="TextBox 21"/>
          <p:cNvSpPr txBox="1"/>
          <p:nvPr/>
        </p:nvSpPr>
        <p:spPr>
          <a:xfrm>
            <a:off x="7816249" y="3770468"/>
            <a:ext cx="282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рчинский район, Устройство крепления берега в с. Илим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812790" y="6319974"/>
            <a:ext cx="282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тенский район, Устройство крепления берега в с. Нижние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арки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. Шилка</a:t>
            </a:r>
          </a:p>
        </p:txBody>
      </p:sp>
      <p:pic>
        <p:nvPicPr>
          <p:cNvPr id="25" name="Рисунок 24" descr="WhatsApp Image 2021-11-10 at 09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855" y="4289401"/>
            <a:ext cx="2916871" cy="2404301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</p:pic>
      <p:sp>
        <p:nvSpPr>
          <p:cNvPr id="26" name="TextBox 25"/>
          <p:cNvSpPr txBox="1"/>
          <p:nvPr/>
        </p:nvSpPr>
        <p:spPr>
          <a:xfrm>
            <a:off x="1711854" y="6319974"/>
            <a:ext cx="29168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нышевский район, Устройство крепления берега в с.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ур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.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ур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28" name="Рисунок 27" descr="Y:\!ВОДНИКИ\!!!ПАВОДОК 2021\Резервный фонд 2\УВЕЛИЧЕНИЕ\СМЕТЫ и АКТЫ после ЭКСПЕРТИЗЫ\Акты и Фото\Балейский район АКТЫ\IMG-20220114-WA0010.jpg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60" b="7786"/>
          <a:stretch/>
        </p:blipFill>
        <p:spPr bwMode="auto">
          <a:xfrm>
            <a:off x="7816250" y="4289400"/>
            <a:ext cx="2690763" cy="2404302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7816249" y="6319973"/>
            <a:ext cx="2690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лейский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йон, Устройство канала отвода на р.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да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г. Балей</a:t>
            </a:r>
          </a:p>
        </p:txBody>
      </p:sp>
      <p:pic>
        <p:nvPicPr>
          <p:cNvPr id="30" name="Рисунок 29"/>
          <p:cNvPicPr/>
          <p:nvPr/>
        </p:nvPicPr>
        <p:blipFill>
          <a:blip r:embed="rId7"/>
          <a:stretch>
            <a:fillRect/>
          </a:stretch>
        </p:blipFill>
        <p:spPr>
          <a:xfrm>
            <a:off x="4812790" y="4289400"/>
            <a:ext cx="2828674" cy="2381271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31" name="TextBox 30"/>
          <p:cNvSpPr txBox="1"/>
          <p:nvPr/>
        </p:nvSpPr>
        <p:spPr>
          <a:xfrm>
            <a:off x="4812790" y="6166085"/>
            <a:ext cx="28286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26578"/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нышевский район, Устройство временной дамбы в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гт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Чернышевск р. </a:t>
            </a:r>
            <a:r>
              <a:rPr lang="ru-RU" sz="10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ур</a:t>
            </a:r>
            <a:r>
              <a:rPr lang="ru-RU" sz="10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районе ул. Солнечная</a:t>
            </a:r>
          </a:p>
        </p:txBody>
      </p:sp>
    </p:spTree>
    <p:extLst>
      <p:ext uri="{BB962C8B-B14F-4D97-AF65-F5344CB8AC3E}">
        <p14:creationId xmlns:p14="http://schemas.microsoft.com/office/powerpoint/2010/main" val="8397891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3004" y="286467"/>
            <a:ext cx="7926502" cy="601891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chemeClr val="tx1"/>
                </a:solidFill>
              </a:rPr>
              <a:t>В области водных отношений (2021 год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852839" y="1009573"/>
            <a:ext cx="8523895" cy="1763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венции из федерального бюджета на осуществление отдельных полномочий</a:t>
            </a:r>
          </a:p>
          <a:p>
            <a:pPr algn="ctr" defTabSz="326578"/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бласти водных отношений – </a:t>
            </a:r>
            <a:r>
              <a:rPr lang="ru-RU" sz="1429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7,93 </a:t>
            </a:r>
            <a:r>
              <a:rPr lang="ru-RU" sz="1429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лей: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водоохранных зон реки Хилок (2020-2021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репление на местности границ водоохранных зон реки Ингода (2021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ю русла реки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ша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с.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ейское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2019-2021) 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глубление русла реки Чита в г. Чита (2020-2022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глубление русла реки Среднее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лонгро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г. Могоча (2021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ю русла реки Кия в г. Шилка (2021-2024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е русла реки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гита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гт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Букачача Чернышевского района (2021-2023) </a:t>
            </a:r>
            <a:endParaRPr lang="ru-RU" sz="1429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871" y="2926080"/>
            <a:ext cx="4090971" cy="290927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311871" y="5977577"/>
            <a:ext cx="4090971" cy="488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е русла реки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ша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ейское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шинского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йона</a:t>
            </a:r>
          </a:p>
        </p:txBody>
      </p:sp>
      <p:sp>
        <p:nvSpPr>
          <p:cNvPr id="3" name="AutoShape 2" descr="blob:https://web.whatsapp.com/007178f6-3485-4d10-92ec-b08f291c55c9"/>
          <p:cNvSpPr>
            <a:spLocks noChangeAspect="1" noChangeArrowheads="1"/>
          </p:cNvSpPr>
          <p:nvPr/>
        </p:nvSpPr>
        <p:spPr bwMode="auto">
          <a:xfrm>
            <a:off x="1635125" y="-103188"/>
            <a:ext cx="217714" cy="21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5314" tIns="32657" rIns="65314" bIns="32657" numCol="1" anchor="t" anchorCtr="0" compatLnSpc="1">
            <a:prstTxWarp prst="textNoShape">
              <a:avLst/>
            </a:prstTxWarp>
          </a:bodyPr>
          <a:lstStyle/>
          <a:p>
            <a:pPr defTabSz="326578"/>
            <a:endParaRPr lang="ru-RU" sz="1286">
              <a:solidFill>
                <a:prstClr val="black"/>
              </a:solidFill>
            </a:endParaRP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2839" y="2926079"/>
            <a:ext cx="4241627" cy="2909278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</p:pic>
      <p:sp>
        <p:nvSpPr>
          <p:cNvPr id="12" name="TextBox 11"/>
          <p:cNvSpPr txBox="1"/>
          <p:nvPr/>
        </p:nvSpPr>
        <p:spPr>
          <a:xfrm>
            <a:off x="1928167" y="5977577"/>
            <a:ext cx="4090971" cy="488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е русла реки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гита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гт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Букачача Чернышевского района</a:t>
            </a:r>
          </a:p>
        </p:txBody>
      </p:sp>
    </p:spTree>
    <p:extLst>
      <p:ext uri="{BB962C8B-B14F-4D97-AF65-F5344CB8AC3E}">
        <p14:creationId xmlns:p14="http://schemas.microsoft.com/office/powerpoint/2010/main" val="24708130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3004" y="286467"/>
            <a:ext cx="7926502" cy="601891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chemeClr val="tx1"/>
                </a:solidFill>
              </a:rPr>
              <a:t>В области водных отношений (2021 год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72844" y="1079444"/>
            <a:ext cx="8583574" cy="12357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дохозяйственные мероприятия – краевой бюджет</a:t>
            </a:r>
          </a:p>
          <a:p>
            <a:pPr algn="ctr" defTabSz="326578"/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осстановление береговой линии, капитальный и текущий ремонт ГТС) – </a:t>
            </a:r>
            <a:r>
              <a:rPr lang="ru-RU" sz="1429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,55</a:t>
            </a:r>
            <a:r>
              <a:rPr lang="ru-RU" sz="1429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лн. рублей: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становление береговой линии реки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рча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п. Заречный Нерчинского района (2021-2022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питальный ремонт дамбы в с. Тунгокочен на реке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енга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2020-2022)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ущий ремонт дамбы в г. Чита (правый берег от моста по ул. Генерала </a:t>
            </a:r>
            <a:r>
              <a:rPr lang="ru-RU" sz="1143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лика</a:t>
            </a: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о ж/д моста) 2021-2022</a:t>
            </a:r>
          </a:p>
          <a:p>
            <a:pPr marL="204111" indent="-204111" algn="ctr" defTabSz="326578">
              <a:buFont typeface="Arial" panose="020B0604020202020204" pitchFamily="34" charset="0"/>
              <a:buChar char="•"/>
            </a:pPr>
            <a:r>
              <a:rPr lang="ru-RU" sz="1143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ПСД на капитальный ремонт дамбы в с. Улеты (2021-2022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22410" y="5697272"/>
            <a:ext cx="4499131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52357"/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монт дамбы в </a:t>
            </a:r>
            <a:r>
              <a:rPr lang="ru-RU" sz="1286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.Тунгокочен</a:t>
            </a:r>
            <a:r>
              <a:rPr lang="ru-RU" sz="128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976" y="2574525"/>
            <a:ext cx="4084443" cy="296339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844" y="2574525"/>
            <a:ext cx="4291787" cy="2963391"/>
          </a:xfrm>
          <a:prstGeom prst="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3871284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134" y="1135"/>
          <a:ext cx="113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34" y="1135"/>
                        <a:ext cx="113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700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4280">
              <a:defRPr/>
            </a:pPr>
            <a:endParaRPr lang="ru-RU" sz="1429" b="1" dirty="0">
              <a:solidFill>
                <a:prstClr val="white"/>
              </a:solidFill>
            </a:endParaRPr>
          </a:p>
        </p:txBody>
      </p:sp>
      <p:sp>
        <p:nvSpPr>
          <p:cNvPr id="24580" name="Заголовок 4"/>
          <p:cNvSpPr>
            <a:spLocks noGrp="1"/>
          </p:cNvSpPr>
          <p:nvPr>
            <p:ph type="title"/>
          </p:nvPr>
        </p:nvSpPr>
        <p:spPr>
          <a:xfrm>
            <a:off x="1763259" y="273603"/>
            <a:ext cx="8014607" cy="307777"/>
          </a:xfrm>
        </p:spPr>
        <p:txBody>
          <a:bodyPr vert="horz" lIns="0" tIns="0" rIns="0" bIns="0" rtlCol="0" anchor="ctr">
            <a:spAutoFit/>
          </a:bodyPr>
          <a:lstStyle/>
          <a:p>
            <a:pPr defTabSz="767685">
              <a:lnSpc>
                <a:spcPct val="100000"/>
              </a:lnSpc>
            </a:pPr>
            <a:r>
              <a:rPr lang="ru-RU" altLang="ru-RU" sz="2000" dirty="0">
                <a:solidFill>
                  <a:schemeClr val="tx1"/>
                </a:solidFill>
              </a:rPr>
              <a:t>Защита населенных пунктов от затопления (2022 г.)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1891968" y="1113103"/>
          <a:ext cx="8536852" cy="15770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74966">
                  <a:extLst>
                    <a:ext uri="{9D8B030D-6E8A-4147-A177-3AD203B41FA5}"/>
                  </a:extLst>
                </a:gridCol>
                <a:gridCol w="3161886">
                  <a:extLst>
                    <a:ext uri="{9D8B030D-6E8A-4147-A177-3AD203B41FA5}"/>
                  </a:extLst>
                </a:gridCol>
              </a:tblGrid>
              <a:tr h="616346">
                <a:tc gridSpan="2">
                  <a:txBody>
                    <a:bodyPr/>
                    <a:lstStyle/>
                    <a:p>
                      <a:pPr lvl="0"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 исполнение поручения Президента России от 04.05.2020 г. № Пр-741 (пункт 4 «б»)  </a:t>
                      </a:r>
                    </a:p>
                    <a:p>
                      <a:pPr lvl="0"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вопросу финансирования строительства защитных дамб в районе г. Читы: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2" marB="3266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27" marB="45727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5995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федеральном бюджете на 2022-2025 гг. предусмотрены средства на ПСД и СМР: 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2" marB="326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стоимость</a:t>
                      </a:r>
                    </a:p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22-2025 гг.), </a:t>
                      </a:r>
                      <a:r>
                        <a:rPr lang="ru-RU" sz="11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руб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2" marB="326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50075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 защитных дамб в г. Чите на р. Чита, р. Ингода</a:t>
                      </a:r>
                    </a:p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4 объекта)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2" marB="326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i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776,0</a:t>
                      </a:r>
                      <a:endParaRPr lang="ru-RU" sz="1700" b="1" i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2" marB="326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1928765" y="2952944"/>
          <a:ext cx="8490856" cy="2862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46006">
                  <a:extLst>
                    <a:ext uri="{9D8B030D-6E8A-4147-A177-3AD203B41FA5}"/>
                  </a:extLst>
                </a:gridCol>
                <a:gridCol w="3144850">
                  <a:extLst>
                    <a:ext uri="{9D8B030D-6E8A-4147-A177-3AD203B41FA5}"/>
                  </a:extLst>
                </a:gridCol>
              </a:tblGrid>
              <a:tr h="340369">
                <a:tc gridSpan="2">
                  <a:txBody>
                    <a:bodyPr/>
                    <a:lstStyle/>
                    <a:p>
                      <a:pPr marL="0" marR="0" indent="0" algn="ctr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полнительно удалось</a:t>
                      </a:r>
                      <a:r>
                        <a:rPr lang="ru-RU" altLang="en-US" sz="14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ивлечь средства </a:t>
                      </a:r>
                      <a:r>
                        <a:rPr lang="ru-RU" altLang="en-US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ого бюджета на ПСД и СМР</a:t>
                      </a:r>
                      <a:r>
                        <a:rPr lang="ru-RU" altLang="en-US" sz="1400" b="1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2022-2025 гг.:</a:t>
                      </a:r>
                      <a:endParaRPr lang="ru-RU" altLang="en-US" sz="14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 marT="45725" marB="457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9C0D0"/>
                    </a:solidFill>
                  </a:tcPr>
                </a:tc>
              </a:tr>
              <a:tr h="413664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кты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стоимость,</a:t>
                      </a:r>
                    </a:p>
                    <a:p>
                      <a:pPr algn="ctr"/>
                      <a:r>
                        <a:rPr lang="ru-RU" sz="11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руб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36617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 ГТС в г. Шилка на р. Кия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00,0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373919"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троительство ГТС в </a:t>
                      </a:r>
                      <a:r>
                        <a:rPr lang="ru-RU" sz="1400" b="1" kern="1200" dirty="0" err="1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гт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Чернышевск на р. </a:t>
                      </a:r>
                      <a:r>
                        <a:rPr lang="ru-RU" sz="1400" b="1" kern="1200" dirty="0" err="1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леур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8,9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3302"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 ГТС в с.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лета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р. Хилок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,12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18464"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итальный ремонт инженерных сооружений для защиты 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гт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Приисковый Нерчинского района от паводковых вод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.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рч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,4</a:t>
                      </a:r>
                      <a:endParaRPr lang="ru-RU" sz="1400" b="1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6579"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i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35,52</a:t>
                      </a:r>
                      <a:endParaRPr lang="ru-RU" sz="1700" b="1" i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314" marR="65314" marT="32661" marB="32661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993160" y="6025526"/>
            <a:ext cx="8500056" cy="3122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326578"/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429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водресурсами</a:t>
            </a:r>
            <a:r>
              <a:rPr lang="ru-RU" sz="142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аключено Соглашение (от 25.12.2021 г. № 052-09-2022-044) </a:t>
            </a:r>
          </a:p>
        </p:txBody>
      </p:sp>
    </p:spTree>
    <p:extLst>
      <p:ext uri="{BB962C8B-B14F-4D97-AF65-F5344CB8AC3E}">
        <p14:creationId xmlns:p14="http://schemas.microsoft.com/office/powerpoint/2010/main" val="3225787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40327" y="406032"/>
            <a:ext cx="7994073" cy="830930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lvl="0" defTabSz="914400"/>
            <a:r>
              <a:rPr lang="ru-RU" sz="2400" b="1" dirty="0">
                <a:solidFill>
                  <a:prstClr val="black"/>
                </a:solidFill>
              </a:rPr>
              <a:t>Комплексная система обращения с твердыми коммунальными отходами (ТКО)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912170581"/>
              </p:ext>
            </p:extLst>
          </p:nvPr>
        </p:nvGraphicFramePr>
        <p:xfrm>
          <a:off x="669477" y="1276350"/>
          <a:ext cx="8890159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4398" y="1236962"/>
            <a:ext cx="2013737" cy="149617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12441" y="2796293"/>
            <a:ext cx="1700686" cy="176375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12441" y="4818043"/>
            <a:ext cx="1895694" cy="1159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7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5046" y="189695"/>
            <a:ext cx="10515600" cy="332399"/>
          </a:xfrm>
        </p:spPr>
        <p:txBody>
          <a:bodyPr/>
          <a:lstStyle/>
          <a:p>
            <a:pPr lvl="0"/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Бесперебойная работа регионального оператора по обращению с </a:t>
            </a:r>
            <a:r>
              <a:rPr lang="ru-RU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ТКО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6956960" y="3169316"/>
            <a:ext cx="4191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2. Работа по взысканию задолженности</a:t>
            </a:r>
            <a:endParaRPr lang="ru-RU" b="1" dirty="0">
              <a:solidFill>
                <a:prstClr val="black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6862052" y="3616706"/>
          <a:ext cx="4970063" cy="9392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49771"/>
                <a:gridCol w="664058"/>
                <a:gridCol w="996088"/>
                <a:gridCol w="664058"/>
                <a:gridCol w="996088"/>
              </a:tblGrid>
              <a:tr h="1772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ЮЛ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 smtClean="0">
                          <a:effectLst/>
                        </a:rPr>
                        <a:t>2020 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 smtClean="0">
                          <a:effectLst/>
                        </a:rPr>
                        <a:t>2021 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</a:rPr>
                        <a:t>Подано в суд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8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4 808 424,5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4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29 369 993,8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</a:rPr>
                        <a:t>Вынесено решен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 254 086,1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2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7 326 571,9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Получено И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 045 609,0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23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1 016 880,4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</a:rPr>
                        <a:t>Оплата по И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612 806,6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6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 534 497,5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6862052" y="4867459"/>
          <a:ext cx="4937012" cy="16735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9512"/>
                <a:gridCol w="673629"/>
                <a:gridCol w="764710"/>
                <a:gridCol w="813263"/>
                <a:gridCol w="1395898"/>
              </a:tblGrid>
              <a:tr h="1806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Л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 smtClean="0">
                          <a:effectLst/>
                        </a:rPr>
                        <a:t>2020 г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 smtClean="0">
                          <a:effectLst/>
                        </a:rPr>
                        <a:t>2021 г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4456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u="none" strike="noStrike" dirty="0">
                          <a:effectLst/>
                        </a:rPr>
                        <a:t>Подано исков в суд, в </a:t>
                      </a:r>
                      <a:r>
                        <a:rPr lang="ru-RU" sz="1050" u="none" strike="noStrike" dirty="0" err="1" smtClean="0">
                          <a:effectLst/>
                        </a:rPr>
                        <a:t>т.ч</a:t>
                      </a:r>
                      <a:r>
                        <a:rPr lang="ru-RU" sz="1050" u="none" strike="noStrike" dirty="0" smtClean="0">
                          <a:effectLst/>
                        </a:rPr>
                        <a:t>.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61 </a:t>
                      </a:r>
                      <a:r>
                        <a:rPr lang="ru-RU" sz="1050" u="none" strike="noStrike" dirty="0" smtClean="0">
                          <a:effectLst/>
                        </a:rPr>
                        <a:t>014 исковых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159 259 125,7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</a:tr>
              <a:tr h="20824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u="none" strike="noStrike" dirty="0" smtClean="0">
                          <a:effectLst/>
                        </a:rPr>
                        <a:t>Подготовлено,</a:t>
                      </a:r>
                    </a:p>
                    <a:p>
                      <a:pPr algn="l" rtl="0" fontAlgn="b"/>
                      <a:r>
                        <a:rPr lang="ru-RU" sz="1050" u="none" strike="noStrike" dirty="0" smtClean="0">
                          <a:effectLst/>
                        </a:rPr>
                        <a:t>направлено </a:t>
                      </a:r>
                      <a:r>
                        <a:rPr lang="ru-RU" sz="1050" u="none" strike="noStrike" dirty="0">
                          <a:effectLst/>
                        </a:rPr>
                        <a:t>в суд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14 206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44 396 287,5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</a:tr>
              <a:tr h="17463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u="none" strike="noStrike">
                          <a:effectLst/>
                        </a:rPr>
                        <a:t>Получено </a:t>
                      </a:r>
                      <a:r>
                        <a:rPr lang="ru-RU" sz="1050" u="none" strike="noStrike" smtClean="0">
                          <a:effectLst/>
                        </a:rPr>
                        <a:t>судебных</a:t>
                      </a:r>
                    </a:p>
                    <a:p>
                      <a:pPr algn="l" rtl="0" fontAlgn="b"/>
                      <a:r>
                        <a:rPr lang="ru-RU" sz="1050" u="none" strike="noStrike" smtClean="0">
                          <a:effectLst/>
                        </a:rPr>
                        <a:t>приказ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 smtClean="0">
                          <a:effectLst/>
                        </a:rPr>
                        <a:t>33 приказ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71 385,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17 </a:t>
                      </a:r>
                      <a:r>
                        <a:rPr lang="ru-RU" sz="1050" u="none" strike="noStrike" dirty="0" smtClean="0">
                          <a:effectLst/>
                        </a:rPr>
                        <a:t>896 приказо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44 838 813,2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</a:tr>
              <a:tr h="20914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u="none" strike="noStrike">
                          <a:effectLst/>
                        </a:rPr>
                        <a:t>На </a:t>
                      </a:r>
                      <a:r>
                        <a:rPr lang="ru-RU" sz="1050" u="none" strike="noStrike" smtClean="0">
                          <a:effectLst/>
                        </a:rPr>
                        <a:t>рассмотрении</a:t>
                      </a:r>
                    </a:p>
                    <a:p>
                      <a:pPr algn="l" rtl="0" fontAlgn="ctr"/>
                      <a:r>
                        <a:rPr lang="ru-RU" sz="1050" u="none" strike="noStrike" smtClean="0">
                          <a:effectLst/>
                        </a:rPr>
                        <a:t>в </a:t>
                      </a:r>
                      <a:r>
                        <a:rPr lang="ru-RU" sz="1050" u="none" strike="noStrike" dirty="0">
                          <a:effectLst/>
                        </a:rPr>
                        <a:t>суд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828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1 958 221,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35 027 979,3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</a:tr>
              <a:tr h="17463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u="none" strike="noStrike" dirty="0">
                          <a:effectLst/>
                        </a:rPr>
                        <a:t>Оплачено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 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549 085,0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>
                          <a:effectLst/>
                        </a:rPr>
                        <a:t> 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50" u="none" strike="noStrike" dirty="0">
                          <a:effectLst/>
                        </a:rPr>
                        <a:t>34 996 045,5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122661" y="1113024"/>
          <a:ext cx="3854429" cy="19276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4184"/>
                <a:gridCol w="1034897"/>
                <a:gridCol w="1034897"/>
                <a:gridCol w="1060451"/>
              </a:tblGrid>
              <a:tr h="450668">
                <a:tc>
                  <a:txBody>
                    <a:bodyPr/>
                    <a:lstStyle/>
                    <a:p>
                      <a:pPr algn="ctr" fontAlgn="ctr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Начисление за 2020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Начисление за 2021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инамика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К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2 634 815,4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2 151 761,1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9 516 945,7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М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5 390 971,4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0 736 528,9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4 654 442,5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Ф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4 137 630,0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0 028 340,8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5 890 710,7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Проч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58 437 320,3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74 513 202,0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6 075 881,7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Населен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80 467 161,8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636 408 284,86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5 941 123,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61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Итого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922 567 728,2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013 277 196,8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90 709 468,6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7744857" y="1100374"/>
          <a:ext cx="4447143" cy="19182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3622"/>
                <a:gridCol w="1024162"/>
                <a:gridCol w="1311007"/>
                <a:gridCol w="1318352"/>
              </a:tblGrid>
              <a:tr h="431142">
                <a:tc>
                  <a:txBody>
                    <a:bodyPr/>
                    <a:lstStyle/>
                    <a:p>
                      <a:pPr algn="ctr" fontAlgn="ctr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З на </a:t>
                      </a:r>
                      <a:r>
                        <a:rPr lang="ru-RU" sz="1050" u="none" strike="noStrike" dirty="0" smtClean="0">
                          <a:effectLst/>
                        </a:rPr>
                        <a:t>  31.12.2020 </a:t>
                      </a:r>
                      <a:r>
                        <a:rPr lang="ru-RU" sz="1050" u="none" strike="noStrike" dirty="0">
                          <a:effectLst/>
                        </a:rPr>
                        <a:t>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З </a:t>
                      </a:r>
                      <a:r>
                        <a:rPr lang="ru-RU" sz="1050" u="none" strike="noStrike" dirty="0" smtClean="0">
                          <a:effectLst/>
                        </a:rPr>
                        <a:t>на </a:t>
                      </a:r>
                    </a:p>
                    <a:p>
                      <a:pPr algn="ctr" fontAlgn="ctr"/>
                      <a:r>
                        <a:rPr lang="ru-RU" sz="1050" u="none" strike="noStrike" dirty="0" smtClean="0">
                          <a:effectLst/>
                        </a:rPr>
                        <a:t> </a:t>
                      </a:r>
                      <a:r>
                        <a:rPr lang="ru-RU" sz="1050" u="none" strike="noStrike" dirty="0">
                          <a:effectLst/>
                        </a:rPr>
                        <a:t>30.12.2021 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инамика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К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 598 868,8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95 645,8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1 303 222,9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М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smtClean="0">
                          <a:effectLst/>
                        </a:rPr>
                        <a:t>8 064 860,0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6 170 569,8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1 894 290,1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Ф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78 295,4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731 706,4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1 310 001,9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Проч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2 033 434,3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6 784 837,8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-5 248 596,5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Населен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52 093 699,9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32 547 614,7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80 453 914,8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78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тог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94 369 158,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65 066 961,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70 697 803,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533654" y="3538648"/>
          <a:ext cx="4382430" cy="18906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8644"/>
                <a:gridCol w="1315844"/>
                <a:gridCol w="1260088"/>
                <a:gridCol w="947854"/>
              </a:tblGrid>
              <a:tr h="445830">
                <a:tc>
                  <a:txBody>
                    <a:bodyPr/>
                    <a:lstStyle/>
                    <a:p>
                      <a:pPr algn="ctr" fontAlgn="ctr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% оплаты от начислений за 2020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% оплаты от начислений за 2021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Отклонение </a:t>
                      </a:r>
                      <a:r>
                        <a:rPr lang="ru-RU" sz="1050" u="none" strike="noStrike" dirty="0" smtClean="0">
                          <a:effectLst/>
                        </a:rPr>
                        <a:t>  (+;-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45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К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9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07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18%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541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М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73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14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1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3779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Ф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97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05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8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313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Проч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87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06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9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32108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Населен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1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69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8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59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тог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8%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83%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4%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/>
          </p:nvPr>
        </p:nvGraphicFramePr>
        <p:xfrm>
          <a:off x="3905090" y="1122748"/>
          <a:ext cx="3828751" cy="19179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7952"/>
                <a:gridCol w="951049"/>
                <a:gridCol w="1026131"/>
                <a:gridCol w="1013619"/>
              </a:tblGrid>
              <a:tr h="426408">
                <a:tc>
                  <a:txBody>
                    <a:bodyPr/>
                    <a:lstStyle/>
                    <a:p>
                      <a:pPr algn="ctr" fontAlgn="ctr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Оплачено за 2020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Оплачено за 2021г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инамика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401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К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0 356 850,4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4 552 132,2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14 195 281,8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01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М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5 797 211,2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35 033 907,6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9 236 696,43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557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 smtClean="0">
                          <a:effectLst/>
                        </a:rPr>
                        <a:t>Ф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3 304 048,5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1 942 590,0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8 638 541,5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25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Проч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64 243 138,7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90 946 428,0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26 703 289,29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899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Населени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35 564 602,2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438 908 195,2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03 343 592,9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01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тог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566 217 166,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839 770 166,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273 553 000,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079944" y="621029"/>
            <a:ext cx="2782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1. Сбытовая деятельность</a:t>
            </a:r>
            <a:endParaRPr lang="ru-RU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80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6327" y="226088"/>
            <a:ext cx="10515600" cy="332399"/>
          </a:xfrm>
        </p:spPr>
        <p:txBody>
          <a:bodyPr/>
          <a:lstStyle/>
          <a:p>
            <a:r>
              <a:rPr lang="ru-RU" sz="2400" b="1" dirty="0">
                <a:latin typeface="Calibri" panose="020F0502020204030204" pitchFamily="34" charset="0"/>
                <a:cs typeface="Calibri" panose="020F0502020204030204" pitchFamily="34" charset="0"/>
              </a:rPr>
              <a:t>Бесперебойная работа регионального оператора по обращению с ТКО</a:t>
            </a:r>
            <a:endParaRPr lang="ru-RU" sz="2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92513" y="805543"/>
          <a:ext cx="5820936" cy="9509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68520"/>
                <a:gridCol w="1376208"/>
                <a:gridCol w="1376208"/>
              </a:tblGrid>
              <a:tr h="230871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020 год</a:t>
                      </a:r>
                      <a:endParaRPr lang="ru-RU" sz="12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021 год</a:t>
                      </a:r>
                      <a:endParaRPr lang="ru-RU" sz="12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4001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Объем ТКО выставленный потребителям, м</a:t>
                      </a:r>
                      <a:r>
                        <a:rPr lang="ru-RU" sz="1200" u="none" strike="noStrike" baseline="30000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 688 169,46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 037 141,02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001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Объем транспортируемого ТКО, м</a:t>
                      </a:r>
                      <a:r>
                        <a:rPr lang="ru-RU" sz="1200" u="none" strike="noStrike" baseline="30000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 176 104,38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 298 326,69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4001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Объем </a:t>
                      </a:r>
                      <a:r>
                        <a:rPr lang="ru-RU" sz="1200" u="none" strike="noStrike" dirty="0" err="1" smtClean="0">
                          <a:effectLst/>
                        </a:rPr>
                        <a:t>захораниваемого</a:t>
                      </a:r>
                      <a:r>
                        <a:rPr lang="ru-RU" sz="1200" u="none" strike="noStrike" dirty="0" smtClean="0">
                          <a:effectLst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</a:rPr>
                        <a:t>ТКО, м</a:t>
                      </a:r>
                      <a:r>
                        <a:rPr lang="ru-RU" sz="1200" u="none" strike="noStrike" baseline="30000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 391 473,87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 318 100,83</a:t>
                      </a:r>
                      <a:endParaRPr lang="ru-RU" sz="12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489856" y="1976363"/>
          <a:ext cx="5943996" cy="43090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55031"/>
                <a:gridCol w="1941296"/>
                <a:gridCol w="1647669"/>
              </a:tblGrid>
              <a:tr h="25881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Кредиторская задолженность ООО "ОЛЕРОН+"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8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Контраген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 smtClean="0">
                          <a:effectLst/>
                        </a:rPr>
                        <a:t>2020 </a:t>
                      </a:r>
                      <a:r>
                        <a:rPr lang="ru-RU" sz="1100" u="none" strike="noStrike" dirty="0">
                          <a:effectLst/>
                        </a:rPr>
                        <a:t>год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 smtClean="0">
                          <a:effectLst/>
                        </a:rPr>
                        <a:t>2021 </a:t>
                      </a:r>
                      <a:r>
                        <a:rPr lang="ru-RU" sz="1100" u="none" strike="noStrike" dirty="0">
                          <a:effectLst/>
                        </a:rPr>
                        <a:t>год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Транспортировка, в том числе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03 313 222,3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26 877 299,5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ООО "</a:t>
                      </a:r>
                      <a:r>
                        <a:rPr lang="ru-RU" sz="1100" u="none" strike="noStrike" dirty="0" err="1">
                          <a:effectLst/>
                        </a:rPr>
                        <a:t>Автолидер</a:t>
                      </a:r>
                      <a:r>
                        <a:rPr lang="ru-RU" sz="1100" u="none" strike="noStrike" dirty="0">
                          <a:effectLst/>
                        </a:rPr>
                        <a:t>"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71 633 394,6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02 685 086,05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ИП Соколов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57 00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 447 973,23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ООО "</a:t>
                      </a:r>
                      <a:r>
                        <a:rPr lang="ru-RU" sz="1100" u="none" strike="noStrike" dirty="0" err="1">
                          <a:effectLst/>
                        </a:rPr>
                        <a:t>ТрансВэй</a:t>
                      </a:r>
                      <a:r>
                        <a:rPr lang="ru-RU" sz="1100" u="none" strike="noStrike" dirty="0">
                          <a:effectLst/>
                        </a:rPr>
                        <a:t>"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1 522 827,72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21 744 240,29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effectLst/>
                        </a:rPr>
                        <a:t>Захоронение, в том числе:</a:t>
                      </a:r>
                      <a:endParaRPr lang="ru-RU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59 208 323,7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201 478 899,7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ООО "АТТ"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4 838 016,42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4 688 965,59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ИП Андреевский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63 038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484 236,6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ООО "Бизнес-Консалт"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4 278 500,51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4 469 520,47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МБУ "Благоустройство"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745 935,59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94 696,21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МУП Обелиск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 295 812,9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МУП Угольный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88 683,5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14 299,33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ООО "Сатеник"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 369 00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 258 00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ООО "Кедр"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 077 298,4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ИП Хорошилов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 183 272,96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ПОЛИГОН-2 ООО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28 450 022,11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36 291 771,05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ЭКО-АЛЬЯНС ООО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,00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4 669 181,21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ЭКО-ПОЛИГОН ООО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1450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7 779 314,68</a:t>
                      </a:r>
                      <a:endParaRPr lang="ru-RU" sz="11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4 947 657,97</a:t>
                      </a:r>
                      <a:endParaRPr lang="ru-RU" sz="11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</a:rPr>
                        <a:t>Прочие</a:t>
                      </a:r>
                      <a:endParaRPr lang="ru-RU" sz="1100" b="1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46 940 825,5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0 455 296,2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198917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effectLst/>
                        </a:rPr>
                        <a:t>Итого:</a:t>
                      </a:r>
                      <a:endParaRPr lang="ru-RU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509 462 371,5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658 811 495,6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/>
          </p:nvPr>
        </p:nvGraphicFramePr>
        <p:xfrm>
          <a:off x="6643171" y="958468"/>
          <a:ext cx="5079432" cy="3095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6770719" y="4214569"/>
            <a:ext cx="1069904" cy="1431560"/>
            <a:chOff x="274470" y="-197556"/>
            <a:chExt cx="1069904" cy="1431560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9" name="Нашивка 8"/>
            <p:cNvSpPr/>
            <p:nvPr/>
          </p:nvSpPr>
          <p:spPr>
            <a:xfrm rot="5400000">
              <a:off x="93642" y="-16728"/>
              <a:ext cx="1431560" cy="1069903"/>
            </a:xfrm>
            <a:prstGeom prst="chevron">
              <a:avLst/>
            </a:prstGeom>
            <a:grp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Нашивка 4"/>
            <p:cNvSpPr/>
            <p:nvPr/>
          </p:nvSpPr>
          <p:spPr>
            <a:xfrm>
              <a:off x="274471" y="337394"/>
              <a:ext cx="1069903" cy="361657"/>
            </a:xfrm>
            <a:prstGeom prst="rect">
              <a:avLst/>
            </a:prstGeom>
            <a:grp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200" b="1" dirty="0">
                  <a:solidFill>
                    <a:prstClr val="black"/>
                  </a:solidFill>
                </a:rPr>
                <a:t>I</a:t>
              </a:r>
              <a:endParaRPr lang="ru-RU" sz="22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762672" y="5383234"/>
            <a:ext cx="1077950" cy="1431560"/>
            <a:chOff x="263277" y="3806445"/>
            <a:chExt cx="1077950" cy="1431560"/>
          </a:xfrm>
        </p:grpSpPr>
        <p:sp>
          <p:nvSpPr>
            <p:cNvPr id="12" name="Нашивка 11"/>
            <p:cNvSpPr/>
            <p:nvPr/>
          </p:nvSpPr>
          <p:spPr>
            <a:xfrm rot="5400000">
              <a:off x="86472" y="3983250"/>
              <a:ext cx="1431560" cy="1077950"/>
            </a:xfrm>
            <a:prstGeom prst="chevron">
              <a:avLst/>
            </a:prstGeom>
          </p:spPr>
          <p:style>
            <a:lnRef idx="2">
              <a:schemeClr val="accent4">
                <a:hueOff val="10395693"/>
                <a:satOff val="-47968"/>
                <a:lumOff val="1765"/>
                <a:alphaOff val="0"/>
              </a:schemeClr>
            </a:lnRef>
            <a:fillRef idx="1">
              <a:schemeClr val="accent4">
                <a:hueOff val="10395693"/>
                <a:satOff val="-47968"/>
                <a:lumOff val="1765"/>
                <a:alphaOff val="0"/>
              </a:schemeClr>
            </a:fillRef>
            <a:effectRef idx="0">
              <a:schemeClr val="accent4">
                <a:hueOff val="10395693"/>
                <a:satOff val="-47968"/>
                <a:lumOff val="1765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Нашивка 4"/>
            <p:cNvSpPr/>
            <p:nvPr/>
          </p:nvSpPr>
          <p:spPr>
            <a:xfrm>
              <a:off x="263277" y="4345420"/>
              <a:ext cx="1077950" cy="3536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200" b="1" dirty="0" smtClean="0">
                  <a:solidFill>
                    <a:prstClr val="black"/>
                  </a:solidFill>
                </a:rPr>
                <a:t>I</a:t>
              </a:r>
              <a:r>
                <a:rPr lang="en-US" sz="2200" b="1" dirty="0">
                  <a:solidFill>
                    <a:prstClr val="black"/>
                  </a:solidFill>
                </a:rPr>
                <a:t>I</a:t>
              </a:r>
              <a:endParaRPr lang="ru-RU" sz="22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8018871" y="4444597"/>
            <a:ext cx="4097980" cy="885090"/>
            <a:chOff x="1485109" y="280746"/>
            <a:chExt cx="7990313" cy="930514"/>
          </a:xfrm>
        </p:grpSpPr>
        <p:sp>
          <p:nvSpPr>
            <p:cNvPr id="15" name="Прямоугольник с двумя скругленными соседними углами 14"/>
            <p:cNvSpPr/>
            <p:nvPr/>
          </p:nvSpPr>
          <p:spPr>
            <a:xfrm rot="5400000">
              <a:off x="5015009" y="-3249154"/>
              <a:ext cx="930514" cy="7990313"/>
            </a:xfrm>
            <a:prstGeom prst="round2SameRect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Прямоугольник 15"/>
            <p:cNvSpPr/>
            <p:nvPr/>
          </p:nvSpPr>
          <p:spPr>
            <a:xfrm>
              <a:off x="1485111" y="326169"/>
              <a:ext cx="7944888" cy="83966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1430" rIns="11430" bIns="11430" numCol="1" spcCol="1270" anchor="ctr" anchorCtr="0">
              <a:noAutofit/>
            </a:bodyPr>
            <a:lstStyle/>
            <a:p>
              <a:pPr marL="171450" lvl="1" indent="-171450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600" b="1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Для обеспечения деятельности РО предоставлена субсидия 49,9 млн. </a:t>
              </a:r>
              <a:r>
                <a:rPr lang="ru-RU" sz="1600" b="1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руб.</a:t>
              </a:r>
              <a:endParaRPr lang="ru-RU" sz="1600" b="1" dirty="0">
                <a:solidFill>
                  <a:prstClr val="black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8018870" y="5646129"/>
            <a:ext cx="4074683" cy="855023"/>
            <a:chOff x="1501430" y="4065247"/>
            <a:chExt cx="7972963" cy="898904"/>
          </a:xfrm>
        </p:grpSpPr>
        <p:sp>
          <p:nvSpPr>
            <p:cNvPr id="19" name="Прямоугольник с двумя скругленными соседними углами 18"/>
            <p:cNvSpPr/>
            <p:nvPr/>
          </p:nvSpPr>
          <p:spPr>
            <a:xfrm rot="5400000">
              <a:off x="5038460" y="528217"/>
              <a:ext cx="898904" cy="7972963"/>
            </a:xfrm>
            <a:prstGeom prst="round2SameRect">
              <a:avLst/>
            </a:prstGeom>
          </p:spPr>
          <p:style>
            <a:lnRef idx="2">
              <a:schemeClr val="accent4">
                <a:hueOff val="10395693"/>
                <a:satOff val="-47968"/>
                <a:lumOff val="1765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Прямоугольник 19"/>
            <p:cNvSpPr/>
            <p:nvPr/>
          </p:nvSpPr>
          <p:spPr>
            <a:xfrm>
              <a:off x="1501431" y="4109128"/>
              <a:ext cx="7929082" cy="8111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1430" rIns="11430" bIns="11430" numCol="1" spcCol="1270" anchor="ctr" anchorCtr="0">
              <a:noAutofit/>
            </a:bodyPr>
            <a:lstStyle/>
            <a:p>
              <a:pPr marL="0" lvl="1" defTabSz="8001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b="1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cs typeface="Calibri" panose="020F0502020204030204" pitchFamily="34" charset="0"/>
                </a:rPr>
                <a:t>Новые нормативы и тарифы</a:t>
              </a:r>
              <a:endParaRPr lang="ru-RU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754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0779" y="109246"/>
            <a:ext cx="10515600" cy="1384995"/>
          </a:xfrm>
        </p:spPr>
        <p:txBody>
          <a:bodyPr/>
          <a:lstStyle/>
          <a:p>
            <a:pPr lvl="0"/>
            <a:r>
              <a:rPr lang="ru-RU" sz="2800" b="1" dirty="0">
                <a:latin typeface="Calibri" panose="020F0502020204030204" pitchFamily="34" charset="0"/>
                <a:cs typeface="Calibri" panose="020F0502020204030204" pitchFamily="34" charset="0"/>
              </a:rPr>
              <a:t>Корректировка территориальной схемы обращения с отходами Забайкальского края</a:t>
            </a: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5669905" y="1307192"/>
          <a:ext cx="6332562" cy="492835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389372"/>
                <a:gridCol w="2086979"/>
                <a:gridCol w="1540020"/>
                <a:gridCol w="2316191"/>
              </a:tblGrid>
              <a:tr h="582358"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ероприят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роки </a:t>
                      </a:r>
                      <a:endParaRPr lang="ru-RU" sz="14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Исполнители</a:t>
                      </a:r>
                      <a:endParaRPr lang="ru-RU" sz="140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45889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1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Создание</a:t>
                      </a:r>
                      <a:r>
                        <a:rPr lang="ru-RU" sz="1100" b="0" baseline="0" dirty="0" smtClean="0"/>
                        <a:t> </a:t>
                      </a:r>
                      <a:r>
                        <a:rPr lang="ru-RU" sz="1100" b="1" baseline="0" dirty="0" smtClean="0"/>
                        <a:t>Рабочей группы </a:t>
                      </a:r>
                      <a:r>
                        <a:rPr lang="ru-RU" sz="1100" b="0" baseline="0" dirty="0" smtClean="0"/>
                        <a:t>по корректировке ТС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Выполнено</a:t>
                      </a:r>
                      <a:endParaRPr lang="en-US" sz="1100" b="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2</a:t>
                      </a:r>
                      <a:r>
                        <a:rPr lang="ru-RU" sz="1100" b="0" dirty="0" smtClean="0"/>
                        <a:t>.</a:t>
                      </a:r>
                      <a:r>
                        <a:rPr lang="en-US" sz="1100" b="0" dirty="0" smtClean="0"/>
                        <a:t>11</a:t>
                      </a:r>
                      <a:r>
                        <a:rPr lang="ru-RU" sz="1100" b="0" dirty="0" smtClean="0"/>
                        <a:t>.202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Минприроды Забайкальского края,</a:t>
                      </a:r>
                    </a:p>
                    <a:p>
                      <a:pPr algn="ctr"/>
                      <a:r>
                        <a:rPr lang="ru-RU" sz="1100" b="0" dirty="0" smtClean="0"/>
                        <a:t>РСТ Забайкальского края, Региональный оператор,</a:t>
                      </a:r>
                    </a:p>
                    <a:p>
                      <a:pPr algn="ctr"/>
                      <a:r>
                        <a:rPr lang="ru-RU" sz="1100" b="0" dirty="0" smtClean="0"/>
                        <a:t>ГО «Город Чита»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82358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2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лючение государственного контракта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корректировку ТС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до</a:t>
                      </a:r>
                      <a:r>
                        <a:rPr lang="ru-RU" sz="1100" b="0" baseline="0" dirty="0" smtClean="0"/>
                        <a:t> 10.02.2022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Минприроды</a:t>
                      </a:r>
                      <a:r>
                        <a:rPr lang="ru-RU" sz="1100" b="0" baseline="0" dirty="0" smtClean="0"/>
                        <a:t> Забайкальского края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45889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3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проекта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С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с 14.02.2022</a:t>
                      </a:r>
                      <a:r>
                        <a:rPr lang="ru-RU" sz="1100" b="0" baseline="0" dirty="0" smtClean="0"/>
                        <a:t> </a:t>
                      </a:r>
                    </a:p>
                    <a:p>
                      <a:pPr algn="ctr"/>
                      <a:r>
                        <a:rPr lang="ru-RU" sz="1100" b="0" baseline="0" dirty="0" smtClean="0"/>
                        <a:t>по 11.04.2022</a:t>
                      </a:r>
                    </a:p>
                    <a:p>
                      <a:pPr algn="ctr"/>
                      <a:r>
                        <a:rPr lang="ru-RU" sz="1100" b="0" baseline="0" dirty="0" smtClean="0"/>
                        <a:t>(60 календарных дней)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Исполнитель работ</a:t>
                      </a:r>
                    </a:p>
                    <a:p>
                      <a:pPr algn="ctr"/>
                      <a:r>
                        <a:rPr lang="ru-RU" sz="1100" b="1" dirty="0" smtClean="0"/>
                        <a:t>Рабочая</a:t>
                      </a:r>
                      <a:r>
                        <a:rPr lang="ru-RU" sz="1100" b="1" baseline="0" dirty="0" smtClean="0"/>
                        <a:t> группа</a:t>
                      </a: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1289504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4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Согласование проекта ТС с региональным оператором,</a:t>
                      </a:r>
                    </a:p>
                    <a:p>
                      <a:pPr algn="ctr"/>
                      <a:r>
                        <a:rPr lang="ru-RU" sz="1100" b="0" dirty="0" smtClean="0"/>
                        <a:t>Минприроды России, ППК «РЭО»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до 12.05.2022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dirty="0" smtClean="0"/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Минприроды</a:t>
                      </a:r>
                      <a:r>
                        <a:rPr lang="ru-RU" sz="1100" b="0" baseline="0" dirty="0" smtClean="0"/>
                        <a:t> Забайкальского края</a:t>
                      </a:r>
                      <a:endParaRPr lang="ru-RU" sz="1100" b="0" dirty="0" smtClean="0"/>
                    </a:p>
                    <a:p>
                      <a:pPr algn="ctr"/>
                      <a:endParaRPr lang="ru-RU" sz="1100" b="0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82358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5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ерждение проекта</a:t>
                      </a:r>
                    </a:p>
                    <a:p>
                      <a:pPr algn="ctr"/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рриториальной схемы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/>
                        <a:t>до 15.05.2022</a:t>
                      </a:r>
                      <a:endParaRPr lang="ru-RU" sz="1100" b="1" dirty="0"/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Правительство Забайкальского</a:t>
                      </a:r>
                      <a:r>
                        <a:rPr lang="ru-RU" sz="1100" b="0" baseline="0" dirty="0" smtClean="0"/>
                        <a:t> края</a:t>
                      </a:r>
                      <a:endParaRPr lang="ru-RU" sz="1100" b="0" dirty="0"/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808797598"/>
              </p:ext>
            </p:extLst>
          </p:nvPr>
        </p:nvGraphicFramePr>
        <p:xfrm>
          <a:off x="204716" y="1398706"/>
          <a:ext cx="5072364" cy="52545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0169" y="937862"/>
            <a:ext cx="115272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1. Сформированы основные </a:t>
            </a:r>
            <a:r>
              <a:rPr lang="ru-RU" b="1" dirty="0">
                <a:solidFill>
                  <a:prstClr val="black"/>
                </a:solidFill>
              </a:rPr>
              <a:t>параметры «новой» </a:t>
            </a:r>
            <a:r>
              <a:rPr lang="ru-RU" b="1" dirty="0" smtClean="0">
                <a:solidFill>
                  <a:prstClr val="black"/>
                </a:solidFill>
              </a:rPr>
              <a:t>ТС         2. Подготовлена «дорожная карта» по разработке ТС</a:t>
            </a:r>
            <a:endParaRPr lang="ru-RU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364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6377" y="359228"/>
            <a:ext cx="10031061" cy="484742"/>
          </a:xfrm>
        </p:spPr>
        <p:txBody>
          <a:bodyPr anchor="ctr">
            <a:normAutofit/>
          </a:bodyPr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Инвестиционные Проекты 2022-2026 гг.</a:t>
            </a:r>
            <a:endParaRPr lang="ru-RU" sz="2400" b="1" dirty="0">
              <a:solidFill>
                <a:schemeClr val="tx1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99283" y="903512"/>
          <a:ext cx="11862756" cy="5801758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410592"/>
                <a:gridCol w="3037556"/>
                <a:gridCol w="1740665"/>
                <a:gridCol w="2159306"/>
                <a:gridCol w="4514637"/>
              </a:tblGrid>
              <a:tr h="506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№ п/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Наименование проект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Сумма </a:t>
                      </a:r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инвестиций,</a:t>
                      </a:r>
                    </a:p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млн</a:t>
                      </a:r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. 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Сумма </a:t>
                      </a:r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инвестиций</a:t>
                      </a:r>
                    </a:p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с </a:t>
                      </a:r>
                      <a:r>
                        <a:rPr lang="ru-RU" sz="1400" b="1" u="none" strike="noStrike" dirty="0">
                          <a:effectLst/>
                          <a:latin typeface="+mn-lt"/>
                        </a:rPr>
                        <a:t>% по </a:t>
                      </a:r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кредиту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+mn-lt"/>
                        </a:rPr>
                        <a:t>Примеча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9425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+mn-lt"/>
                        </a:rPr>
                        <a:t>КПО "Сухая Падь" (г. Чита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)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К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лерон+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щность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ортировки – 100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тонн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365,7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487,07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 от ППК РЭО под 5%</a:t>
                      </a: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восстановление завода - 22,1 млн. руб.,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строительство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второй линии (вместе с приобретением спецтехники) - 297,8 млн. руб.,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ПЭТ-линия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- 22 млн. руб., RDF - 20 млн. руб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.,</a:t>
                      </a: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Цех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КГМ - 3,8 млн. 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</a:tr>
              <a:tr h="14592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+mn-lt"/>
                        </a:rPr>
                        <a:t>КПО в Читинском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районе</a:t>
                      </a: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К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лерон+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щность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ортировки – 120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тонн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 011,8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2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679,49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 от ППК РЭО под 5%</a:t>
                      </a: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роектирование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-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40 млн. руб.,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стр-</a:t>
                      </a:r>
                      <a:r>
                        <a:rPr lang="ru-RU" sz="1200" u="none" strike="noStrike" dirty="0" err="1" smtClean="0">
                          <a:effectLst/>
                          <a:latin typeface="+mn-lt"/>
                        </a:rPr>
                        <a:t>ство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олигона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-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 150 млн. руб.,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строительство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мусоросортировочного комплекса - 450 млн. руб., площадка компостирования - 200 млн. руб., RDF - 20 млн. руб.,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Цех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КГМ - 4,8 млн. руб., ПЭТ-линия - 22 млн. руб.,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спецтехника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- 65 млн. руб., строительство дороги - 100 млн.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руб.</a:t>
                      </a: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593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+mn-lt"/>
                        </a:rPr>
                        <a:t>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КПО</a:t>
                      </a:r>
                      <a:r>
                        <a:rPr lang="ru-RU" sz="16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в </a:t>
                      </a:r>
                      <a:r>
                        <a:rPr lang="ru-RU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Чернышевском районе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К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лерон+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щность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ортировки – 65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тонн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995,5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1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325,90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 от ППК РЭО под 5%</a:t>
                      </a: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роектная документация разработана. 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Получено </a:t>
                      </a: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заключение ГЭ и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ДСС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Мощность сортировки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 задана на 110 </a:t>
                      </a:r>
                      <a:r>
                        <a:rPr lang="ru-RU" sz="1200" u="none" strike="noStrike" baseline="0" dirty="0" err="1" smtClean="0">
                          <a:effectLst/>
                          <a:latin typeface="+mn-lt"/>
                        </a:rPr>
                        <a:t>т.тонн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. Требуется пересмотр.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</a:tr>
              <a:tr h="9991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КПО</a:t>
                      </a:r>
                      <a:r>
                        <a:rPr lang="ru-RU" sz="16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в </a:t>
                      </a:r>
                      <a:r>
                        <a:rPr lang="ru-RU" sz="1600" u="none" strike="noStrike" dirty="0">
                          <a:effectLst/>
                          <a:latin typeface="+mn-lt"/>
                        </a:rPr>
                        <a:t>Петровск-Забайкальском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районе</a:t>
                      </a:r>
                      <a:r>
                        <a:rPr lang="ru-RU" sz="16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К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лерон+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щность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ортировки – 20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тонн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594,9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792,33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 от ППК РЭО под 5% </a:t>
                      </a: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роектная документация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разработана. </a:t>
                      </a: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Ожидается получение заключения ГЭ и ДСС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до конца 2021 года.</a:t>
                      </a:r>
                    </a:p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Мощность сортировки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 задана на 50 </a:t>
                      </a:r>
                      <a:r>
                        <a:rPr lang="ru-RU" sz="1200" u="none" strike="noStrike" baseline="0" dirty="0" err="1" smtClean="0">
                          <a:effectLst/>
                          <a:latin typeface="+mn-lt"/>
                        </a:rPr>
                        <a:t>т.тонн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. Требуется пересмотр.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459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КПО</a:t>
                      </a:r>
                      <a:r>
                        <a:rPr lang="ru-RU" sz="16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600" u="none" strike="noStrike" dirty="0" smtClean="0">
                          <a:effectLst/>
                          <a:latin typeface="+mn-lt"/>
                        </a:rPr>
                        <a:t>в Краснокаменском районе</a:t>
                      </a: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ОО Экопромсортировка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щность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ортировки – 65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тонн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4,043</a:t>
                      </a:r>
                    </a:p>
                    <a:p>
                      <a:pPr algn="ctr" fontAlgn="ctr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% банку – 192,856 </a:t>
                      </a:r>
                    </a:p>
                    <a:p>
                      <a:pPr algn="ctr" fontAlgn="ctr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% инвестору – 42,187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Проектная документация разработана.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 Получено заключение ГЭ и ДСС.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товится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цесс.соглашение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+mn-lt"/>
                        </a:rPr>
                        <a:t>Мощность сортировки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 задана на 50 </a:t>
                      </a:r>
                      <a:r>
                        <a:rPr lang="ru-RU" sz="1200" u="none" strike="noStrike" baseline="0" dirty="0" err="1" smtClean="0">
                          <a:effectLst/>
                          <a:latin typeface="+mn-lt"/>
                        </a:rPr>
                        <a:t>т.тонн</a:t>
                      </a:r>
                      <a:r>
                        <a:rPr lang="ru-RU" sz="1200" u="none" strike="noStrike" baseline="0" dirty="0" smtClean="0">
                          <a:effectLst/>
                          <a:latin typeface="+mn-lt"/>
                        </a:rPr>
                        <a:t>. Требуется пересмотр.</a:t>
                      </a:r>
                      <a:endParaRPr lang="ru-RU" sz="1200" u="none" strike="noStrike" dirty="0" smtClean="0">
                        <a:effectLst/>
                        <a:latin typeface="+mn-lt"/>
                      </a:endParaRPr>
                    </a:p>
                  </a:txBody>
                  <a:tcPr marL="6906" marR="6906" marT="6906" marB="0" anchor="ctr"/>
                </a:tc>
              </a:tr>
              <a:tr h="388909"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ИТОГ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4 396,91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5 </a:t>
                      </a:r>
                      <a:r>
                        <a:rPr lang="ru-RU" sz="1600" b="1" u="none" strike="noStrike" dirty="0" smtClean="0">
                          <a:effectLst/>
                          <a:latin typeface="+mn-lt"/>
                        </a:rPr>
                        <a:t>948,9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06" marR="6906" marT="6906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71090" y="0"/>
            <a:ext cx="112340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2800" b="1" dirty="0" smtClean="0">
                <a:solidFill>
                  <a:prstClr val="black"/>
                </a:solidFill>
                <a:cs typeface="Calibri" panose="020F0502020204030204" pitchFamily="34" charset="0"/>
              </a:rPr>
              <a:t>СОЗДАНИЕ КОМПЛЕКСНОЙ ИНФРАСТРУКТУРЫ ОБРАЩЕНИЯ С ТКО</a:t>
            </a:r>
            <a:endParaRPr lang="ru-RU" sz="2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875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69471" y="242933"/>
            <a:ext cx="7067377" cy="646264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/>
            <a:r>
              <a:rPr lang="ru-RU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ЗАДАЧИ ДЕЯТЕЛЬНОСТИ МИНИСТЕРСТВА ПРИРОДНЫХ РЕСУРСОВ ЗАБАЙКАЛЬСКОГО КРАЯ </a:t>
            </a:r>
            <a:endParaRPr lang="ru-RU" b="1" kern="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669979960"/>
              </p:ext>
            </p:extLst>
          </p:nvPr>
        </p:nvGraphicFramePr>
        <p:xfrm>
          <a:off x="669476" y="1020449"/>
          <a:ext cx="1092474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50950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461" y="1405461"/>
            <a:ext cx="3112563" cy="1708466"/>
          </a:xfrm>
          <a:prstGeom prst="rect">
            <a:avLst/>
          </a:prstGeom>
        </p:spPr>
      </p:pic>
      <p:pic>
        <p:nvPicPr>
          <p:cNvPr id="4" name="Рисунок 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759" y="1351001"/>
            <a:ext cx="3064178" cy="18173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4950" y="82945"/>
            <a:ext cx="10515600" cy="775597"/>
          </a:xfrm>
        </p:spPr>
        <p:txBody>
          <a:bodyPr/>
          <a:lstStyle/>
          <a:p>
            <a:pPr lvl="0"/>
            <a:r>
              <a:rPr lang="ru-RU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недрение раздельного накопления ТКО среди населения</a:t>
            </a:r>
            <a:br>
              <a:rPr lang="ru-RU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28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507"/>
          <a:stretch/>
        </p:blipFill>
        <p:spPr>
          <a:xfrm>
            <a:off x="4385392" y="3139947"/>
            <a:ext cx="3450487" cy="325951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395" y="3011844"/>
            <a:ext cx="3349872" cy="33498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30" y="3011844"/>
            <a:ext cx="3339212" cy="333921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356159" y="1752406"/>
            <a:ext cx="6096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/>
            <a:r>
              <a:rPr lang="ru-RU" sz="2000" b="1" dirty="0" smtClean="0">
                <a:solidFill>
                  <a:prstClr val="black"/>
                </a:solidFill>
              </a:rPr>
              <a:t>1380</a:t>
            </a:r>
            <a:r>
              <a:rPr lang="ru-RU" b="1" dirty="0" smtClean="0">
                <a:solidFill>
                  <a:prstClr val="black"/>
                </a:solidFill>
              </a:rPr>
              <a:t> оранжевых контейнеров для</a:t>
            </a:r>
          </a:p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                                                 </a:t>
            </a:r>
            <a:r>
              <a:rPr lang="ru-RU" b="1" dirty="0" smtClean="0">
                <a:solidFill>
                  <a:srgbClr val="ED7D31"/>
                </a:solidFill>
              </a:rPr>
              <a:t>пластика</a:t>
            </a:r>
            <a:endParaRPr lang="ru-RU" b="1" dirty="0">
              <a:solidFill>
                <a:srgbClr val="ED7D3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67067" y="1752406"/>
            <a:ext cx="6096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/>
            <a:r>
              <a:rPr lang="ru-RU" sz="2000" b="1" dirty="0" smtClean="0">
                <a:solidFill>
                  <a:prstClr val="black"/>
                </a:solidFill>
              </a:rPr>
              <a:t>1500</a:t>
            </a:r>
            <a:r>
              <a:rPr lang="ru-RU" b="1" dirty="0" smtClean="0">
                <a:solidFill>
                  <a:prstClr val="black"/>
                </a:solidFill>
              </a:rPr>
              <a:t> синих контейнеров для</a:t>
            </a:r>
          </a:p>
          <a:p>
            <a:pPr defTabSz="914400"/>
            <a:r>
              <a:rPr lang="ru-RU" b="1" dirty="0" smtClean="0">
                <a:solidFill>
                  <a:srgbClr val="4472C4"/>
                </a:solidFill>
              </a:rPr>
              <a:t>бумаги и картона</a:t>
            </a:r>
            <a:endParaRPr lang="ru-RU" b="1" dirty="0">
              <a:solidFill>
                <a:srgbClr val="4472C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63452" y="586847"/>
            <a:ext cx="7294369" cy="707886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pPr algn="ctr" defTabSz="914400"/>
            <a:r>
              <a:rPr lang="ru-RU" sz="2000" b="1" dirty="0" smtClean="0">
                <a:solidFill>
                  <a:prstClr val="black"/>
                </a:solidFill>
              </a:rPr>
              <a:t>ПОЛУЧЕНА СУБСИДИЯ ИЗ ФБ В РАЗМЕРЕ 41 МЛН. РУБ.</a:t>
            </a:r>
          </a:p>
          <a:p>
            <a:pPr algn="ctr" defTabSz="914400"/>
            <a:r>
              <a:rPr lang="ru-RU" sz="2000" b="1" dirty="0" smtClean="0">
                <a:solidFill>
                  <a:prstClr val="black"/>
                </a:solidFill>
              </a:rPr>
              <a:t>ЗАКУПЛЕНО 2880 КОНТЕЙНЕРОВ ДЛЯ ВНЕДРЕНИЯ РСО В Г. ЧИТА</a:t>
            </a:r>
            <a:endParaRPr lang="ru-RU" sz="2000" b="1" dirty="0">
              <a:solidFill>
                <a:prstClr val="black"/>
              </a:solidFill>
            </a:endParaRPr>
          </a:p>
        </p:txBody>
      </p:sp>
      <p:sp>
        <p:nvSpPr>
          <p:cNvPr id="13" name="Выгнутая вправо стрелка 12"/>
          <p:cNvSpPr/>
          <p:nvPr/>
        </p:nvSpPr>
        <p:spPr>
          <a:xfrm>
            <a:off x="9867331" y="756364"/>
            <a:ext cx="444457" cy="797501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Выгнутая влево стрелка 13"/>
          <p:cNvSpPr/>
          <p:nvPr/>
        </p:nvSpPr>
        <p:spPr>
          <a:xfrm>
            <a:off x="1850834" y="768209"/>
            <a:ext cx="485302" cy="79750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46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39" y="44122"/>
            <a:ext cx="3423909" cy="584571"/>
          </a:xfrm>
          <a:prstGeom prst="rect">
            <a:avLst/>
          </a:prstGeom>
        </p:spPr>
        <p:txBody>
          <a:bodyPr wrap="square" lIns="91236" tIns="45619" rIns="91236" bIns="45619">
            <a:spAutoFit/>
          </a:bodyPr>
          <a:lstStyle/>
          <a:p>
            <a:pPr algn="r" defTabSz="912334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2334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963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42900" y="76505"/>
            <a:ext cx="6015038" cy="830793"/>
          </a:xfrm>
          <a:prstGeom prst="rect">
            <a:avLst/>
          </a:prstGeom>
        </p:spPr>
        <p:txBody>
          <a:bodyPr wrap="square" lIns="91236" tIns="45619" rIns="91236" bIns="45619">
            <a:spAutoFit/>
          </a:bodyPr>
          <a:lstStyle/>
          <a:p>
            <a:pPr defTabSz="912592"/>
            <a:r>
              <a:rPr lang="ru-RU" alt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Основные </a:t>
            </a:r>
            <a:r>
              <a:rPr lang="ru-RU" alt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цели и задачи</a:t>
            </a:r>
            <a:endParaRPr lang="en-US" altLang="ru-RU" sz="24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Times New Roman" pitchFamily="18" charset="0"/>
            </a:endParaRPr>
          </a:p>
          <a:p>
            <a:pPr defTabSz="912592"/>
            <a:r>
              <a:rPr lang="ru-RU" alt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в </a:t>
            </a:r>
            <a:r>
              <a:rPr lang="ru-RU" alt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сфере охраны окружающей среды 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725211458"/>
              </p:ext>
            </p:extLst>
          </p:nvPr>
        </p:nvGraphicFramePr>
        <p:xfrm>
          <a:off x="179835" y="1006145"/>
          <a:ext cx="7360249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Содержимое 5" descr="Забайкальский12.png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94274" y="1105536"/>
            <a:ext cx="4516705" cy="5134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object 92"/>
          <p:cNvSpPr>
            <a:spLocks noChangeArrowheads="1"/>
          </p:cNvSpPr>
          <p:nvPr/>
        </p:nvSpPr>
        <p:spPr bwMode="auto">
          <a:xfrm>
            <a:off x="8126451" y="1590715"/>
            <a:ext cx="1641791" cy="1260169"/>
          </a:xfrm>
          <a:prstGeom prst="rect">
            <a:avLst/>
          </a:pr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defTabSz="912592">
              <a:buClrTx/>
              <a:buFont typeface="Arial" pitchFamily="34" charset="0"/>
              <a:buNone/>
            </a:pPr>
            <a:endParaRPr lang="ru-RU" altLang="ru-RU" sz="1800"/>
          </a:p>
        </p:txBody>
      </p:sp>
      <p:sp>
        <p:nvSpPr>
          <p:cNvPr id="10" name="object 38"/>
          <p:cNvSpPr>
            <a:spLocks noChangeArrowheads="1"/>
          </p:cNvSpPr>
          <p:nvPr/>
        </p:nvSpPr>
        <p:spPr bwMode="auto">
          <a:xfrm>
            <a:off x="7853939" y="3672913"/>
            <a:ext cx="1914303" cy="1076482"/>
          </a:xfrm>
          <a:prstGeom prst="rect">
            <a:avLst/>
          </a:prstGeom>
          <a:blipFill dpi="0" rotWithShape="1">
            <a:blip r:embed="rId1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defTabSz="912592">
              <a:buClrTx/>
              <a:buFont typeface="Arial" pitchFamily="34" charset="0"/>
              <a:buNone/>
            </a:pPr>
            <a:endParaRPr lang="ru-RU" altLang="ru-RU" sz="1800"/>
          </a:p>
        </p:txBody>
      </p:sp>
    </p:spTree>
    <p:extLst>
      <p:ext uri="{BB962C8B-B14F-4D97-AF65-F5344CB8AC3E}">
        <p14:creationId xmlns:p14="http://schemas.microsoft.com/office/powerpoint/2010/main" val="130550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68" y="117878"/>
            <a:ext cx="3423909" cy="584674"/>
          </a:xfrm>
          <a:prstGeom prst="rect">
            <a:avLst/>
          </a:prstGeom>
        </p:spPr>
        <p:txBody>
          <a:bodyPr wrap="square" lIns="91338" tIns="45670" rIns="91338" bIns="45670">
            <a:spAutoFit/>
          </a:bodyPr>
          <a:lstStyle/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455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10461" y="341501"/>
            <a:ext cx="7274507" cy="419366"/>
          </a:xfrm>
        </p:spPr>
        <p:txBody>
          <a:bodyPr>
            <a:normAutofit fontScale="90000"/>
          </a:bodyPr>
          <a:lstStyle/>
          <a:p>
            <a:r>
              <a:rPr lang="ru-RU" sz="1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</a:t>
            </a:r>
            <a:r>
              <a:rPr lang="ru-RU" sz="1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«Чистый воздух» </a:t>
            </a:r>
            <a:r>
              <a:rPr lang="ru-RU" sz="1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ого </a:t>
            </a:r>
            <a:r>
              <a:rPr lang="ru-RU" sz="1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«Экология</a:t>
            </a:r>
            <a:r>
              <a:rPr lang="ru-RU" sz="1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9520400"/>
              </p:ext>
            </p:extLst>
          </p:nvPr>
        </p:nvGraphicFramePr>
        <p:xfrm>
          <a:off x="299627" y="842201"/>
          <a:ext cx="11631934" cy="1292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94652"/>
                <a:gridCol w="1284729"/>
                <a:gridCol w="1385672"/>
                <a:gridCol w="1688501"/>
                <a:gridCol w="1578380"/>
              </a:tblGrid>
              <a:tr h="258618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Наименование показател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Ед. измерени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Значение установленного показател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81462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2019</a:t>
                      </a:r>
                      <a:r>
                        <a:rPr lang="ru-RU" sz="1200" baseline="0" dirty="0" smtClean="0"/>
                        <a:t> год</a:t>
                      </a:r>
                      <a:endParaRPr lang="ru-RU" sz="12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лан/факт </a:t>
                      </a:r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2020 го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лан/факт </a:t>
                      </a:r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1 год</a:t>
                      </a:r>
                    </a:p>
                    <a:p>
                      <a:pPr algn="ctr"/>
                      <a:r>
                        <a:rPr lang="ru-RU" sz="1200" dirty="0" smtClean="0"/>
                        <a:t>план/факт 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</a:tr>
              <a:tr h="28263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нижение</a:t>
                      </a:r>
                      <a:r>
                        <a:rPr lang="ru-RU" sz="1200" baseline="0" dirty="0" smtClean="0"/>
                        <a:t> совокупного объема выбросов опасных загрязняющих веществ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роцент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/100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/100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6/96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801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нижение совокупного объема выбросов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роцент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/100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/100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6/96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640595"/>
              </p:ext>
            </p:extLst>
          </p:nvPr>
        </p:nvGraphicFramePr>
        <p:xfrm>
          <a:off x="332509" y="2145703"/>
          <a:ext cx="11599052" cy="438066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11188"/>
                <a:gridCol w="898291"/>
                <a:gridCol w="798314"/>
                <a:gridCol w="854762"/>
                <a:gridCol w="830570"/>
                <a:gridCol w="927335"/>
                <a:gridCol w="895081"/>
                <a:gridCol w="1056356"/>
                <a:gridCol w="974469"/>
                <a:gridCol w="976343"/>
                <a:gridCol w="976343"/>
              </a:tblGrid>
              <a:tr h="63291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мероприятия 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мотрено средств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едерального бюджета, 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мотрено средств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ального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джета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ические расходы на реализацию в 2021 г.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 завершения реализации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</a:tr>
              <a:tr h="1588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год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год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год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год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3BBC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 них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своения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106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2682" marR="2682" marT="2682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ства федерального бюджета</a:t>
                      </a:r>
                      <a:endParaRPr lang="ru-RU" sz="10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ства  регионального бюджета</a:t>
                      </a:r>
                      <a:endParaRPr lang="ru-RU" sz="10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3BBC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779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 троллейбусной линии «Троллейбусное депо – </a:t>
                      </a:r>
                      <a:r>
                        <a:rPr lang="ru-RU" sz="1000" b="1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штак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                                       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5 938,8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5,3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 244,8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7,2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331,5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 362,5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 375,30</a:t>
                      </a:r>
                      <a:endParaRPr lang="ru-RU" sz="10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87,25</a:t>
                      </a:r>
                      <a:endParaRPr lang="ru-RU" sz="10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12.202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</a:tr>
              <a:tr h="5272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ПСД «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 троллейбусной линии «Троллейбусное депо – КСК»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85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85,4</a:t>
                      </a: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85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85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12.2021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</a:tr>
              <a:tr h="5272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рытие котельной по ул. </a:t>
                      </a:r>
                      <a:r>
                        <a:rPr lang="ru-RU" sz="1000" b="1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рхоленская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переводом потребителей на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ализованное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 432,3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 853,6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 190,1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5,3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73,2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768,9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 853,60</a:t>
                      </a:r>
                      <a:endParaRPr lang="ru-RU" sz="10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5,3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12.202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14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рытие котельной по ул. Шилова с переводом потребителей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ализованное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плоснабжение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778,1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74,5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908,1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,7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1,8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688,2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74,5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,7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12.202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420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 теплотрассы в районе </a:t>
                      </a:r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бВО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1-й и 2-ой этапы)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 284,0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976,4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542,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03,6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,0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 180,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976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03,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12.202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</a:tr>
              <a:tr h="420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обретение троллейбусов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4 202,8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9 118,7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84,0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2 496,93</a:t>
                      </a:r>
                    </a:p>
                  </a:txBody>
                  <a:tcPr marL="1916" marR="1916" marT="1916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7 447,00</a:t>
                      </a: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49,9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7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12.2021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chemeClr val="bg1"/>
                    </a:solidFill>
                  </a:tcPr>
                </a:tc>
              </a:tr>
              <a:tr h="1964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98 221,7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4 898,5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1 885,00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889,46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48,6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19 082,1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3  226,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855,3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43" marR="5443" marT="5443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b"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6" marR="1916" marT="1916" marB="0" anchor="b">
                    <a:solidFill>
                      <a:srgbClr val="B3BBCB"/>
                    </a:solidFill>
                  </a:tcPr>
                </a:tc>
              </a:tr>
            </a:tbl>
          </a:graphicData>
        </a:graphic>
      </p:graphicFrame>
      <p:sp>
        <p:nvSpPr>
          <p:cNvPr id="15" name="Заголовок 1"/>
          <p:cNvSpPr txBox="1">
            <a:spLocks/>
          </p:cNvSpPr>
          <p:nvPr/>
        </p:nvSpPr>
        <p:spPr>
          <a:xfrm>
            <a:off x="417592" y="6623349"/>
            <a:ext cx="11513969" cy="269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ения в 2021 году составил 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19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68" y="117878"/>
            <a:ext cx="3423909" cy="584674"/>
          </a:xfrm>
          <a:prstGeom prst="rect">
            <a:avLst/>
          </a:prstGeom>
        </p:spPr>
        <p:txBody>
          <a:bodyPr wrap="square" lIns="91338" tIns="45670" rIns="91338" bIns="45670">
            <a:spAutoFit/>
          </a:bodyPr>
          <a:lstStyle/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455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353973" y="117878"/>
            <a:ext cx="90011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367"/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«Сохранение озера Байкал </a:t>
            </a:r>
            <a:endParaRPr lang="ru-RU" sz="20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913367"/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 край)» национального проекта «Экология</a:t>
            </a: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4"/>
          <p:cNvSpPr>
            <a:spLocks noChangeArrowheads="1"/>
          </p:cNvSpPr>
          <p:nvPr/>
        </p:nvSpPr>
        <p:spPr bwMode="auto">
          <a:xfrm>
            <a:off x="8139772" y="2133371"/>
            <a:ext cx="3692162" cy="4590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3BBCB"/>
            </a:solidFill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defTabSz="912334"/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конструкция очистных сооружений </a:t>
            </a:r>
            <a:endParaRPr lang="ru-RU" sz="1400" b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defTabSz="912334"/>
            <a:r>
              <a:rPr lang="ru-RU" sz="14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Хилок</a:t>
            </a:r>
          </a:p>
          <a:p>
            <a:pPr defTabSz="912334"/>
            <a:endParaRPr lang="ru-RU" alt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чик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СЕЗ»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ядная организация: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Дом 2000»</a:t>
            </a:r>
          </a:p>
          <a:p>
            <a:pPr defTabSz="912334">
              <a:lnSpc>
                <a:spcPct val="150000"/>
              </a:lnSpc>
            </a:pPr>
            <a:endParaRPr lang="ru-RU" alt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объекта по контракту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32,755 </a:t>
            </a:r>
            <a:r>
              <a:rPr lang="ru-RU" alt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рублей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кт заключен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03.2021 г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сдачи объекта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10.2022 г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БА </a:t>
            </a: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,47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готовности объекта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1,8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освоения БА 2021 года -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 2022 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62,02 млн. рублей</a:t>
            </a:r>
          </a:p>
        </p:txBody>
      </p:sp>
      <p:sp>
        <p:nvSpPr>
          <p:cNvPr id="20" name="Прямоугольник 4"/>
          <p:cNvSpPr>
            <a:spLocks noChangeArrowheads="1"/>
          </p:cNvSpPr>
          <p:nvPr/>
        </p:nvSpPr>
        <p:spPr bwMode="auto">
          <a:xfrm>
            <a:off x="4404682" y="2139544"/>
            <a:ext cx="3592131" cy="4590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3BBCB"/>
            </a:solidFill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defTabSz="912334"/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оительство очистных сооружений 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.п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ст. 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пхеген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ru-RU" sz="1400" b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Хилокского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района</a:t>
            </a:r>
          </a:p>
          <a:p>
            <a:pPr defTabSz="912334"/>
            <a:endParaRPr lang="ru-RU" alt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чик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СЕЗ»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ядная организация: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Строй Центр Иркутск»</a:t>
            </a:r>
          </a:p>
          <a:p>
            <a:pPr defTabSz="912334">
              <a:lnSpc>
                <a:spcPct val="150000"/>
              </a:lnSpc>
            </a:pPr>
            <a:endParaRPr lang="ru-RU" alt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объекта по контракту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82,793 </a:t>
            </a:r>
            <a:r>
              <a:rPr lang="ru-RU" alt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рублей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кт заключен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.04.2021 г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сдачи объекта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10.2022 г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БА </a:t>
            </a: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,85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готовности объекта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59,7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освоения БА 2021 года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94,33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 2022 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9,14 млн. рублей</a:t>
            </a:r>
          </a:p>
        </p:txBody>
      </p:sp>
      <p:sp>
        <p:nvSpPr>
          <p:cNvPr id="21" name="Прямоугольник 4"/>
          <p:cNvSpPr>
            <a:spLocks noChangeArrowheads="1"/>
          </p:cNvSpPr>
          <p:nvPr/>
        </p:nvSpPr>
        <p:spPr bwMode="auto">
          <a:xfrm>
            <a:off x="410461" y="2139544"/>
            <a:ext cx="3834966" cy="45902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B3BBCB"/>
            </a:solidFill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defTabSz="912334"/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оительство очистных сооружений </a:t>
            </a:r>
            <a:endParaRPr lang="ru-RU" sz="1400" b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defTabSz="912334"/>
            <a:r>
              <a:rPr lang="ru-RU" sz="14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Тарбагатай </a:t>
            </a:r>
            <a:r>
              <a:rPr lang="ru-RU" sz="14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-Забайкальского </a:t>
            </a:r>
            <a:r>
              <a:rPr lang="ru-RU" sz="14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-на</a:t>
            </a:r>
          </a:p>
          <a:p>
            <a:pPr defTabSz="912334"/>
            <a:endParaRPr lang="ru-RU" alt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чик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СЕЗ»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ядная организация: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Электронные системы безопасности»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 по контракту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202 </a:t>
            </a:r>
            <a:r>
              <a:rPr lang="ru-RU" alt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рублей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кт заключен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.01.2021 г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сдачи объекта: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11.2022 г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БА </a:t>
            </a: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8,83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готовности объекта – 66,8</a:t>
            </a:r>
          </a:p>
          <a:p>
            <a:pPr defTabSz="912334">
              <a:lnSpc>
                <a:spcPct val="150000"/>
              </a:lnSpc>
            </a:pP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освоения БА 2021 года - 100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2334">
              <a:lnSpc>
                <a:spcPct val="150000"/>
              </a:lnSpc>
            </a:pPr>
            <a:r>
              <a:rPr lang="ru-RU" alt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мит </a:t>
            </a:r>
            <a:r>
              <a:rPr lang="ru-RU" alt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 2022 года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4,15 млн. рублей</a:t>
            </a: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87226"/>
              </p:ext>
            </p:extLst>
          </p:nvPr>
        </p:nvGraphicFramePr>
        <p:xfrm>
          <a:off x="410463" y="881180"/>
          <a:ext cx="11421471" cy="10363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1638"/>
                <a:gridCol w="991513"/>
                <a:gridCol w="1138392"/>
                <a:gridCol w="1115775"/>
                <a:gridCol w="1010228"/>
                <a:gridCol w="1025307"/>
                <a:gridCol w="1040384"/>
                <a:gridCol w="1108234"/>
              </a:tblGrid>
              <a:tr h="137993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Наименование показател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Ед. измерени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Значение показател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по годам реализации проекта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rgbClr val="B3BB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0226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19 г.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0 г.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1 г. 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2 г. 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3 г.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24 г.</a:t>
                      </a:r>
                      <a:endParaRPr lang="ru-RU" sz="1200" dirty="0"/>
                    </a:p>
                  </a:txBody>
                  <a:tcPr>
                    <a:solidFill>
                      <a:srgbClr val="B3BBCB"/>
                    </a:solidFill>
                  </a:tcPr>
                </a:tc>
              </a:tr>
              <a:tr h="48770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окращение объемов сбросов загрязненных</a:t>
                      </a:r>
                      <a:r>
                        <a:rPr lang="ru-RU" sz="1200" baseline="0" dirty="0" smtClean="0"/>
                        <a:t> сточных вод в водные объекты Байкальской природной территории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тысяча куб. метров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7202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7202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7202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654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654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654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1753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88098" y="406032"/>
            <a:ext cx="7166234" cy="769375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lvl="0" defTabSz="912592"/>
            <a:r>
              <a:rPr lang="ru-RU" alt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Основные </a:t>
            </a:r>
            <a:r>
              <a:rPr lang="ru-RU" alt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задачи</a:t>
            </a:r>
            <a:r>
              <a:rPr lang="en-US" alt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 </a:t>
            </a:r>
            <a:r>
              <a:rPr lang="ru-RU" alt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в </a:t>
            </a:r>
            <a:r>
              <a:rPr lang="ru-RU" alt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сфере охраны окружающей среды на 2022 год</a:t>
            </a:r>
            <a:endParaRPr lang="ru-RU" sz="2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717498343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4339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4234983484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34291" y="167472"/>
            <a:ext cx="628470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ели и задачи Министерства природных ресурсов Забайкальского края в области охраны объектов животного мира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43279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ы деятельности Министерства по охране, контролю и регулированию  использования  объектов животного мира</a:t>
            </a:r>
            <a:endParaRPr lang="ru-RU" sz="2400" dirty="0">
              <a:solidFill>
                <a:schemeClr val="tx1"/>
              </a:solidFill>
            </a:endParaRPr>
          </a:p>
        </p:txBody>
      </p:sp>
      <p:graphicFrame>
        <p:nvGraphicFramePr>
          <p:cNvPr id="11" name="Содержимое 10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856072177"/>
              </p:ext>
            </p:extLst>
          </p:nvPr>
        </p:nvGraphicFramePr>
        <p:xfrm>
          <a:off x="505382" y="2006600"/>
          <a:ext cx="11379704" cy="4530680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2844926"/>
                <a:gridCol w="2844926"/>
                <a:gridCol w="2844926"/>
                <a:gridCol w="2844926"/>
              </a:tblGrid>
              <a:tr h="906136">
                <a:tc>
                  <a:txBody>
                    <a:bodyPr/>
                    <a:lstStyle/>
                    <a:p>
                      <a:pPr algn="ctr"/>
                      <a:endParaRPr lang="ru-RU" sz="1700" dirty="0" smtClean="0"/>
                    </a:p>
                    <a:p>
                      <a:pPr algn="ctr"/>
                      <a:r>
                        <a:rPr lang="ru-RU" sz="1700" dirty="0" smtClean="0"/>
                        <a:t>Наименование</a:t>
                      </a:r>
                      <a:r>
                        <a:rPr lang="ru-RU" sz="1700" baseline="0" dirty="0" smtClean="0"/>
                        <a:t> показателей</a:t>
                      </a:r>
                      <a:endParaRPr lang="ru-RU" sz="1700" dirty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 2019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 2020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baseline="0" dirty="0" smtClean="0"/>
                    </a:p>
                    <a:p>
                      <a:pPr algn="ctr"/>
                      <a:r>
                        <a:rPr lang="ru-RU" sz="1500" baseline="0" dirty="0" smtClean="0"/>
                        <a:t> 2021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/>
                </a:tc>
              </a:tr>
              <a:tr h="90613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Количество нарушений по</a:t>
                      </a:r>
                      <a:r>
                        <a:rPr lang="ru-RU" sz="1500" baseline="0" dirty="0" smtClean="0"/>
                        <a:t> ст.8.37 КоАП РФ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701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534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446</a:t>
                      </a:r>
                      <a:endParaRPr lang="ru-RU" sz="1500" b="1" dirty="0"/>
                    </a:p>
                  </a:txBody>
                  <a:tcPr marL="87087" marR="87087" marT="32657" marB="32657"/>
                </a:tc>
              </a:tr>
              <a:tr h="90613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Изъято оружия в том числе нарезного (ед.)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  </a:t>
                      </a:r>
                    </a:p>
                    <a:p>
                      <a:pPr algn="ctr"/>
                      <a:r>
                        <a:rPr lang="ru-RU" sz="1500" dirty="0" smtClean="0"/>
                        <a:t>78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94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79</a:t>
                      </a:r>
                      <a:endParaRPr lang="ru-RU" sz="1500" b="1" dirty="0"/>
                    </a:p>
                  </a:txBody>
                  <a:tcPr marL="87087" marR="87087" marT="32657" marB="32657"/>
                </a:tc>
              </a:tr>
              <a:tr h="90613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Материалов</a:t>
                      </a:r>
                      <a:r>
                        <a:rPr lang="ru-RU" sz="1500" baseline="0" dirty="0" smtClean="0"/>
                        <a:t> с признаками уголовно- наказуемого деяния, направленных в УМВД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 44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34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33</a:t>
                      </a:r>
                      <a:endParaRPr lang="ru-RU" sz="1500" b="1" dirty="0"/>
                    </a:p>
                  </a:txBody>
                  <a:tcPr marL="87087" marR="87087" marT="32657" marB="32657"/>
                </a:tc>
              </a:tr>
              <a:tr h="906136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Наложено</a:t>
                      </a:r>
                      <a:r>
                        <a:rPr lang="ru-RU" sz="1500" baseline="0" dirty="0" smtClean="0"/>
                        <a:t> </a:t>
                      </a:r>
                      <a:r>
                        <a:rPr lang="ru-RU" sz="1500" dirty="0" smtClean="0"/>
                        <a:t>штрафов</a:t>
                      </a:r>
                      <a:r>
                        <a:rPr lang="ru-RU" sz="1500" baseline="0" dirty="0" smtClean="0"/>
                        <a:t> (тыс. руб.)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300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 277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/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/>
                    </a:p>
                    <a:p>
                      <a:pPr algn="ctr"/>
                      <a:r>
                        <a:rPr lang="ru-RU" sz="1500" dirty="0" smtClean="0"/>
                        <a:t>213</a:t>
                      </a:r>
                      <a:endParaRPr lang="ru-RU" sz="1500" b="1" dirty="0"/>
                    </a:p>
                  </a:txBody>
                  <a:tcPr marL="87087" marR="87087" marT="32657" marB="32657"/>
                </a:tc>
              </a:tr>
            </a:tbl>
          </a:graphicData>
        </a:graphic>
      </p:graphicFrame>
      <p:sp>
        <p:nvSpPr>
          <p:cNvPr id="9" name="Содержимое 6"/>
          <p:cNvSpPr>
            <a:spLocks noGrp="1"/>
          </p:cNvSpPr>
          <p:nvPr>
            <p:ph type="subTitle" idx="13"/>
          </p:nvPr>
        </p:nvSpPr>
        <p:spPr>
          <a:xfrm>
            <a:off x="505383" y="993775"/>
            <a:ext cx="11379701" cy="903288"/>
          </a:xfrm>
          <a:solidFill>
            <a:srgbClr val="EBF1E9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alt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рае зарегистрировано 48 юридических лиц и 32 индивидуальных предпринимателей (80 охотпользователей), которыми организовано 114 охотничьих  хозяйств. Общая площадь закрепленной территории за охотпользователями составляет  15520,71 млн. га или  40.8 % от общей площади охотугодий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518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е численности волка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33555297"/>
              </p:ext>
            </p:extLst>
          </p:nvPr>
        </p:nvGraphicFramePr>
        <p:xfrm>
          <a:off x="839788" y="1500325"/>
          <a:ext cx="5157787" cy="4376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Объект 14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2456009294"/>
              </p:ext>
            </p:extLst>
          </p:nvPr>
        </p:nvGraphicFramePr>
        <p:xfrm>
          <a:off x="5646198" y="1359855"/>
          <a:ext cx="6232124" cy="5361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1541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4184873890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87465" y="170908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сновные проблемы в области охраны объектов животного мира 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5196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646940868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87464" y="170908"/>
            <a:ext cx="668315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сновные </a:t>
            </a:r>
            <a:r>
              <a:rPr lang="ru-RU" sz="22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  <a:r>
              <a:rPr kumimoji="0" lang="ru-RU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 области охраны объектов животного мира на 2022 год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4858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4852" y="135944"/>
            <a:ext cx="7407061" cy="369059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ОМОЧИЯ МИНПРИРОДЫ ЗАБАЙКАЛЬСКОГО КРАЯ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24859" y="737146"/>
            <a:ext cx="5755748" cy="416351"/>
          </a:xfrm>
          <a:prstGeom prst="roundRect">
            <a:avLst/>
          </a:prstGeom>
          <a:solidFill>
            <a:srgbClr val="7483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</a:t>
            </a: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й работы</a:t>
            </a:r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389644" y="749780"/>
            <a:ext cx="5608031" cy="391046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региональных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4853" y="1190612"/>
            <a:ext cx="5755747" cy="55292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endParaRPr lang="ru-RU" sz="1700" dirty="0" smtClean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ние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рана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ей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ы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истемы ООПТ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ана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мосферного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духа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льзования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омной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и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ана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ера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кал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государственной экологической экспертизы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спечение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ационной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щение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ходами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ые отношения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я, связанные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созданием на водных объектах, находящихся в федеральной собственности, искусственных земельных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ков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зопасность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дротехнических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ружений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ных биологических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ов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ана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использование объектов животного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а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та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отничьих </a:t>
            </a: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ов.</a:t>
            </a:r>
            <a:endParaRPr lang="ru-RU" sz="17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сные отношения.</a:t>
            </a:r>
          </a:p>
          <a:p>
            <a:pPr marL="341833" indent="-341833" fontAlgn="base">
              <a:buFont typeface="+mj-lt"/>
              <a:buAutoNum type="arabicPeriod"/>
            </a:pPr>
            <a:endParaRPr lang="ru-RU" sz="1700" dirty="0">
              <a:solidFill>
                <a:prstClr val="black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16525" y="1214600"/>
            <a:ext cx="5581043" cy="15628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охранение озера Байкал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Чистая страна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Чистый воздух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омплексная система обращения с твердыми коммунальными отходами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охранение лесов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424737" y="3339570"/>
            <a:ext cx="5572822" cy="91809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</a:rPr>
              <a:t>«</a:t>
            </a: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рана окружающей среды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Воспроизводство и использование природных ресурсов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азвитие лесного хозяйства Забайкальского края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416756" y="2862976"/>
            <a:ext cx="5580903" cy="391046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ых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85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6401625" y="4277755"/>
            <a:ext cx="5595947" cy="456502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ведомственных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й (более 3 тыс. чел) 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424737" y="4734257"/>
            <a:ext cx="5572843" cy="198559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У «Забайкальский краевой экологический центр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Дирекция ООПТ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У «</a:t>
            </a:r>
            <a:r>
              <a:rPr lang="ru-RU" sz="1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ция </a:t>
            </a: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дного парка «</a:t>
            </a:r>
            <a:r>
              <a:rPr lang="ru-RU" sz="15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ей</a:t>
            </a: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У «Дирекция природного парка «</a:t>
            </a:r>
            <a:r>
              <a:rPr lang="ru-RU" sz="15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-Арахлейский</a:t>
            </a: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САУ «Забайкаллесхоз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ГУ «Читинская авиабаза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У «Управление лесничествами Забайкальского края»</a:t>
            </a:r>
          </a:p>
          <a:p>
            <a:pPr marL="341833" indent="-341833" fontAlgn="base">
              <a:buFont typeface="+mj-lt"/>
              <a:buAutoNum type="arabicPeriod"/>
            </a:pPr>
            <a:endParaRPr lang="ru-RU" sz="15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56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338565" y="148776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9053" y="151923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21446" y="247411"/>
            <a:ext cx="63154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/>
            <a:r>
              <a:rPr lang="ru-RU" altLang="ru-RU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Times New Roman" pitchFamily="18" charset="0"/>
              </a:rPr>
              <a:t>Основные цели и задачи в сфере недропользования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580655" y="1958929"/>
            <a:ext cx="4558399" cy="775212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Обеспечение функционирования государственной системы лицензирования пользования участками недр местного значения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580657" y="2806926"/>
            <a:ext cx="4558397" cy="918174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Воспроизводство минерально-сырьевой базы, проведение государственной экспертизы запасов полезных ископаемых,  геологической, экономической и экологической информации о предоставляемых в пользование участках недр</a:t>
            </a:r>
            <a:br>
              <a:rPr lang="ru-RU" sz="1200" b="1" dirty="0">
                <a:solidFill>
                  <a:prstClr val="black"/>
                </a:solidFill>
                <a:sym typeface="Arial" pitchFamily="34" charset="0"/>
              </a:rPr>
            </a:br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580658" y="4660723"/>
            <a:ext cx="4558395" cy="562324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Оформление</a:t>
            </a:r>
            <a:r>
              <a:rPr lang="en-US" sz="1200" b="1" dirty="0">
                <a:solidFill>
                  <a:prstClr val="black"/>
                </a:solidFill>
                <a:sym typeface="Arial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и выдача документов, удостоверяющих уточненные границы горного отвода, в отношении участков недр местного значения</a:t>
            </a:r>
          </a:p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 </a:t>
            </a:r>
            <a:endParaRPr lang="ru-RU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580656" y="5418513"/>
            <a:ext cx="4558397" cy="568342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ru-RU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здание и ведение фондов геологической информации Забайкальского края </a:t>
            </a:r>
            <a:br>
              <a:rPr lang="ru-RU" sz="1200" b="1" dirty="0">
                <a:solidFill>
                  <a:prstClr val="black"/>
                </a:solidFill>
                <a:sym typeface="Arial" pitchFamily="34" charset="0"/>
              </a:rPr>
            </a:br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580655" y="6137640"/>
            <a:ext cx="4558398" cy="569360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вершенствование законодательной базы в сфере недропользовани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580657" y="3945590"/>
            <a:ext cx="4558397" cy="512998"/>
          </a:xfrm>
          <a:prstGeom prst="roundRect">
            <a:avLst/>
          </a:prstGeom>
          <a:solidFill>
            <a:srgbClr val="EBF1E9"/>
          </a:solidFill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гласование технических проектов разработки месторождений общераспространенных полезных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63677" y="2132659"/>
            <a:ext cx="4051667" cy="819950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600" b="1" dirty="0">
                <a:solidFill>
                  <a:prstClr val="black"/>
                </a:solidFill>
                <a:sym typeface="Arial" pitchFamily="34" charset="0"/>
              </a:rPr>
              <a:t>Обеспечение рационального использования недр и охрана недр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963676" y="3397554"/>
            <a:ext cx="4051667" cy="850243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600" b="1" dirty="0">
                <a:solidFill>
                  <a:prstClr val="black"/>
                </a:solidFill>
                <a:sym typeface="Arial" pitchFamily="34" charset="0"/>
              </a:rPr>
              <a:t>Обеспечение рационального использования недр и охрана недр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963676" y="4703836"/>
            <a:ext cx="4051667" cy="733318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600" b="1" dirty="0">
                <a:solidFill>
                  <a:prstClr val="black"/>
                </a:solidFill>
                <a:sym typeface="Arial" pitchFamily="34" charset="0"/>
              </a:rPr>
              <a:t>Лицензирование участков недр местного знач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56951" y="1512306"/>
            <a:ext cx="729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Цел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38565" y="1421549"/>
            <a:ext cx="1537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Задачи</a:t>
            </a:r>
          </a:p>
        </p:txBody>
      </p:sp>
    </p:spTree>
    <p:extLst>
      <p:ext uri="{BB962C8B-B14F-4D97-AF65-F5344CB8AC3E}">
        <p14:creationId xmlns:p14="http://schemas.microsoft.com/office/powerpoint/2010/main" val="310347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Y:\!ОТДЕЛ ГЕОЛОГИИ И НЕДРОПОЛЬЗОВАНИЯ\ДЕНЬ ГЕОЛОГА\фото\Балей_Общий вид на Каменский карьер_02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860778"/>
            <a:ext cx="9144000" cy="574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8152853" y="155722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909" y="138502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7" descr="Y:\Павлык\ГОДОВОЙ отчет\карта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20" r="52987" b="46816"/>
          <a:stretch/>
        </p:blipFill>
        <p:spPr bwMode="auto">
          <a:xfrm>
            <a:off x="4718634" y="2002411"/>
            <a:ext cx="2398683" cy="11461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23000" endPos="1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7" descr="Y:\Павлык\ГОДОВОЙ отчет\карта.jpg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382" y="1724056"/>
            <a:ext cx="5488188" cy="4899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0109" y="249382"/>
            <a:ext cx="73988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altLang="ru-RU" sz="16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Месторождения общераспространенных полезных ископаемых, расположенные на территории муниципальных образований Забайкальского </a:t>
            </a:r>
            <a:r>
              <a:rPr lang="ru-RU" altLang="ru-RU" sz="16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края (с </a:t>
            </a:r>
            <a:r>
              <a:rPr lang="ru-RU" altLang="ru-RU" sz="16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запасами, учтенными государственным балансом на 01.01.2022г.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79522" y="1978960"/>
            <a:ext cx="4321146" cy="1569660"/>
          </a:xfrm>
          <a:prstGeom prst="rect">
            <a:avLst/>
          </a:prstGeom>
          <a:solidFill>
            <a:srgbClr val="EBF1E9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sym typeface="Arial" pitchFamily="34" charset="0"/>
              </a:rPr>
              <a:t>63 месторождения песчано-гравийных пород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sym typeface="Arial" pitchFamily="34" charset="0"/>
              </a:rPr>
              <a:t>14 месторождений известняка для обжига на известь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sym typeface="Arial" pitchFamily="34" charset="0"/>
              </a:rPr>
              <a:t>65 месторождений глин и суглинков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sym typeface="Arial" pitchFamily="34" charset="0"/>
              </a:rPr>
              <a:t>53 месторождение строительного камня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sym typeface="Arial" pitchFamily="34" charset="0"/>
              </a:rPr>
              <a:t>38 месторождений песка строительного</a:t>
            </a:r>
            <a:r>
              <a:rPr lang="ru-RU" sz="1600" dirty="0">
                <a:solidFill>
                  <a:prstClr val="white"/>
                </a:solidFill>
                <a:sym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422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215073" y="94198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7297" y="94198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0" y="762582"/>
            <a:ext cx="87636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Выдача лицензий на пользование участками недр </a:t>
            </a:r>
          </a:p>
          <a:p>
            <a:pPr algn="ctr" defTabSz="914400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местного значения в соответствии с полученными заявками</a:t>
            </a: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697976477"/>
              </p:ext>
            </p:extLst>
          </p:nvPr>
        </p:nvGraphicFramePr>
        <p:xfrm>
          <a:off x="2049983" y="1593579"/>
          <a:ext cx="8367166" cy="2104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3085764" y="3751305"/>
            <a:ext cx="53387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b="1" dirty="0"/>
              <a:t>Виды действующих лицензий</a:t>
            </a:r>
          </a:p>
        </p:txBody>
      </p:sp>
      <p:graphicFrame>
        <p:nvGraphicFramePr>
          <p:cNvPr id="10" name="Google Shape;706;p29"/>
          <p:cNvGraphicFramePr/>
          <p:nvPr>
            <p:extLst>
              <p:ext uri="{D42A27DB-BD31-4B8C-83A1-F6EECF244321}">
                <p14:modId xmlns:p14="http://schemas.microsoft.com/office/powerpoint/2010/main" val="3393541389"/>
              </p:ext>
            </p:extLst>
          </p:nvPr>
        </p:nvGraphicFramePr>
        <p:xfrm>
          <a:off x="4028023" y="3935455"/>
          <a:ext cx="4785900" cy="288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0095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354971" y="94198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6604" y="94198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425664" y="762582"/>
            <a:ext cx="823353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уществление мероприятий по увеличению запасов ОПИ, </a:t>
            </a:r>
          </a:p>
          <a:p>
            <a:pPr algn="ctr" defTabSz="914400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поставленных на баланс и принятых к сведению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48198" y="1760046"/>
            <a:ext cx="6004290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>
                <a:solidFill>
                  <a:prstClr val="black"/>
                </a:solidFill>
                <a:sym typeface="Arial" pitchFamily="34" charset="0"/>
              </a:rPr>
              <a:t>Прирост запасов ОПИ и объем добычи, </a:t>
            </a:r>
            <a:r>
              <a:rPr lang="ru-RU" altLang="ru-RU" sz="1400" b="1" dirty="0" err="1">
                <a:solidFill>
                  <a:prstClr val="black"/>
                </a:solidFill>
                <a:sym typeface="Arial" pitchFamily="34" charset="0"/>
              </a:rPr>
              <a:t>тыс.м.куб</a:t>
            </a:r>
            <a:endParaRPr lang="ru-RU" sz="1400" dirty="0">
              <a:solidFill>
                <a:prstClr val="black"/>
              </a:solidFill>
              <a:sym typeface="Arial" pitchFamily="34" charset="0"/>
            </a:endParaRPr>
          </a:p>
        </p:txBody>
      </p:sp>
      <p:graphicFrame>
        <p:nvGraphicFramePr>
          <p:cNvPr id="15" name="Диаграмма 11"/>
          <p:cNvGraphicFramePr>
            <a:graphicFrameLocks/>
          </p:cNvGraphicFramePr>
          <p:nvPr>
            <p:extLst/>
          </p:nvPr>
        </p:nvGraphicFramePr>
        <p:xfrm>
          <a:off x="1844212" y="2132513"/>
          <a:ext cx="4411277" cy="284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8785671"/>
              </p:ext>
            </p:extLst>
          </p:nvPr>
        </p:nvGraphicFramePr>
        <p:xfrm>
          <a:off x="6163277" y="2156931"/>
          <a:ext cx="4171950" cy="242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2045194" y="4954360"/>
            <a:ext cx="3241603" cy="1503085"/>
          </a:xfrm>
          <a:prstGeom prst="rect">
            <a:avLst/>
          </a:prstGeom>
          <a:ln>
            <a:solidFill>
              <a:srgbClr val="7483A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Ориентировочное увеличение потребности на 2022 год по </a:t>
            </a:r>
            <a:r>
              <a:rPr lang="ru-RU" sz="1400" dirty="0" err="1">
                <a:solidFill>
                  <a:prstClr val="black"/>
                </a:solidFill>
                <a:sym typeface="Arial" pitchFamily="34" charset="0"/>
              </a:rPr>
              <a:t>госконтрактам</a:t>
            </a: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 – </a:t>
            </a:r>
            <a:r>
              <a:rPr lang="ru-RU" sz="1400" dirty="0">
                <a:solidFill>
                  <a:srgbClr val="FF0000"/>
                </a:solidFill>
                <a:sym typeface="Arial" pitchFamily="34" charset="0"/>
              </a:rPr>
              <a:t>1 млн. 550 тыс. м. </a:t>
            </a: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куб. Имеющиеся запасы ОПИ обеспечивают выполнение планируемых </a:t>
            </a:r>
            <a:r>
              <a:rPr lang="ru-RU" sz="1400" dirty="0" err="1">
                <a:solidFill>
                  <a:prstClr val="black"/>
                </a:solidFill>
                <a:sym typeface="Arial" pitchFamily="34" charset="0"/>
              </a:rPr>
              <a:t>госконтрактов</a:t>
            </a:r>
            <a:endParaRPr lang="ru-RU" sz="1400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578227" y="4582632"/>
            <a:ext cx="4955371" cy="533537"/>
          </a:xfrm>
          <a:prstGeom prst="rect">
            <a:avLst/>
          </a:prstGeom>
          <a:solidFill>
            <a:srgbClr val="B3BBCB"/>
          </a:solidFill>
          <a:ln>
            <a:solidFill>
              <a:srgbClr val="7483A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black"/>
                </a:solidFill>
                <a:sym typeface="Arial" pitchFamily="34" charset="0"/>
              </a:rPr>
              <a:t>Поступления в краевой бюджет от пользования недрами местного значения</a:t>
            </a:r>
          </a:p>
        </p:txBody>
      </p:sp>
      <p:graphicFrame>
        <p:nvGraphicFramePr>
          <p:cNvPr id="22" name="Google Shape;716;p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246791"/>
              </p:ext>
            </p:extLst>
          </p:nvPr>
        </p:nvGraphicFramePr>
        <p:xfrm>
          <a:off x="5606904" y="5127466"/>
          <a:ext cx="4912841" cy="1613576"/>
        </p:xfrm>
        <a:graphic>
          <a:graphicData uri="http://schemas.openxmlformats.org/drawingml/2006/table">
            <a:tbl>
              <a:tblPr/>
              <a:tblGrid>
                <a:gridCol w="1870151"/>
                <a:gridCol w="1013665"/>
                <a:gridCol w="1015360"/>
                <a:gridCol w="1013665"/>
              </a:tblGrid>
              <a:tr h="2882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 </a:t>
                      </a: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Наименование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19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</a:tr>
              <a:tr h="2960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Аукционы 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7,82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7,67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8,28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</a:tr>
              <a:tr h="2882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НДПИ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16,8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1,6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2,5 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</a:tr>
              <a:tr h="5202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Госпошлина за выдачу лицензий,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тыс.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32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92,5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622,5</a:t>
                      </a:r>
                    </a:p>
                  </a:txBody>
                  <a:tcPr marL="9525" marR="9525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BF1E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41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8605025" y="170744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2957" y="179705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83673" y="1109344"/>
            <a:ext cx="94788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altLang="ru-RU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Times New Roman" pitchFamily="18" charset="0"/>
              </a:rPr>
              <a:t>Основные задачи Министерства в сфере недропользования на 2022 год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83672" y="1832523"/>
            <a:ext cx="10016836" cy="834331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Обеспечение финансирования реализации в рамках государственной программы Забайкальского края «Воспроизводство и использование природных ресурсов» мероприятий по воспроизводству минерально-сырьевой базы общераспространенных полезных ископаемых и подземных вод, созданию электронного банка геологической информации Забайкальского края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983673" y="2868429"/>
            <a:ext cx="10016835" cy="1121145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400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Проведение государственной экспертизы запасов полезных ископаемых и подземных вод, геологической информации о предоставляемых в пользование участках недр местного значения, а также запасов общераспространенных полезных ископаемых и запасов подземных вод, которые используются для целей питьевого водоснабжения или технического водоснабжения и объем добычи которых составляет не более 500 кубических метров в сутки</a:t>
            </a:r>
          </a:p>
          <a:p>
            <a:pPr algn="ctr" defTabSz="914400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83672" y="4192511"/>
            <a:ext cx="10016835" cy="562324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Совершенствование законодательной базы в сфере недропользования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90599" y="4965402"/>
            <a:ext cx="10016834" cy="672335"/>
          </a:xfrm>
          <a:prstGeom prst="roundRect">
            <a:avLst/>
          </a:prstGeom>
          <a:solidFill>
            <a:srgbClr val="EBF1E9"/>
          </a:solidFill>
          <a:ln w="9525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Обеспечение функционирования государственной системы лицензирования пользования участками недр общераспространенных полезных ископаемых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90599" y="5852942"/>
            <a:ext cx="10016833" cy="512998"/>
          </a:xfrm>
          <a:prstGeom prst="roundRect">
            <a:avLst/>
          </a:prstGeom>
          <a:solidFill>
            <a:srgbClr val="EBF1E9"/>
          </a:solidFill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itchFamily="34" charset="0"/>
              </a:rPr>
              <a:t>Привлечение инвесторов в освоение минерально-сырьевой базы края</a:t>
            </a:r>
          </a:p>
        </p:txBody>
      </p:sp>
    </p:spTree>
    <p:extLst>
      <p:ext uri="{BB962C8B-B14F-4D97-AF65-F5344CB8AC3E}">
        <p14:creationId xmlns:p14="http://schemas.microsoft.com/office/powerpoint/2010/main" val="192162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587611" y="346557"/>
            <a:ext cx="6315145" cy="830724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2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2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157" y="465525"/>
            <a:ext cx="2158283" cy="193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24"/>
          <p:cNvSpPr txBox="1"/>
          <p:nvPr/>
        </p:nvSpPr>
        <p:spPr>
          <a:xfrm>
            <a:off x="4165500" y="3428583"/>
            <a:ext cx="4302519" cy="1200056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b="1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ctr"/>
            <a:r>
              <a:rPr lang="en-US" b="1" dirty="0">
                <a:solidFill>
                  <a:prstClr val="black"/>
                </a:solidFill>
              </a:rPr>
              <a:t>e-mail</a:t>
            </a:r>
            <a:r>
              <a:rPr lang="ru-RU" b="1" dirty="0">
                <a:solidFill>
                  <a:prstClr val="black"/>
                </a:solidFill>
              </a:rPr>
              <a:t>: </a:t>
            </a:r>
            <a:r>
              <a:rPr lang="en-US" b="1" dirty="0">
                <a:solidFill>
                  <a:prstClr val="black"/>
                </a:solidFill>
                <a:hlinkClick r:id="rId4"/>
              </a:rPr>
              <a:t>info@minprir.e-zab.ru</a:t>
            </a:r>
            <a:endParaRPr lang="en-US" b="1" dirty="0">
              <a:solidFill>
                <a:prstClr val="black"/>
              </a:solidFill>
            </a:endParaRPr>
          </a:p>
          <a:p>
            <a:pPr algn="ctr"/>
            <a:r>
              <a:rPr lang="ru-RU" b="1" dirty="0">
                <a:solidFill>
                  <a:prstClr val="black"/>
                </a:solidFill>
              </a:rPr>
              <a:t>сайт: </a:t>
            </a:r>
            <a:r>
              <a:rPr lang="ru-RU" b="1" dirty="0" err="1">
                <a:solidFill>
                  <a:prstClr val="black"/>
                </a:solidFill>
              </a:rPr>
              <a:t>минприр.забайкальскийкрай.рф</a:t>
            </a:r>
            <a:endParaRPr lang="ru-RU" b="1" dirty="0">
              <a:solidFill>
                <a:prstClr val="black"/>
              </a:solidFill>
            </a:endParaRPr>
          </a:p>
          <a:p>
            <a:pPr algn="ctr"/>
            <a:r>
              <a:rPr lang="ru-RU" b="1" dirty="0">
                <a:solidFill>
                  <a:prstClr val="black"/>
                </a:solidFill>
              </a:rPr>
              <a:t>тел.: +7 (3022) 35-25-72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864152" y="5663813"/>
            <a:ext cx="2677845" cy="369059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ru-RU" b="1" dirty="0">
                <a:ln w="50800"/>
                <a:solidFill>
                  <a:prstClr val="black"/>
                </a:solidFill>
                <a:cs typeface="Times New Roman" panose="02020603050405020304" pitchFamily="18" charset="0"/>
              </a:rPr>
              <a:t>г. Чита, </a:t>
            </a:r>
            <a:r>
              <a:rPr lang="ru-RU" b="1" dirty="0" smtClean="0">
                <a:ln w="50800"/>
                <a:solidFill>
                  <a:prstClr val="black"/>
                </a:solidFill>
                <a:cs typeface="Times New Roman" panose="02020603050405020304" pitchFamily="18" charset="0"/>
              </a:rPr>
              <a:t>18 января 2022 г.</a:t>
            </a:r>
            <a:endParaRPr lang="ru-RU" b="1" dirty="0">
              <a:ln w="50800"/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76402" y="2395788"/>
            <a:ext cx="9280635" cy="707613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/>
          <a:p>
            <a:pPr algn="ctr"/>
            <a:r>
              <a:rPr lang="ru-RU" sz="4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4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35430" y="1177298"/>
            <a:ext cx="1668239" cy="1618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27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Дополнительные слайды</a:t>
            </a:r>
            <a:endParaRPr lang="ru-RU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64080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308465" y="128984"/>
            <a:ext cx="2567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425" y="76506"/>
            <a:ext cx="779585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706583" y="980728"/>
          <a:ext cx="10723415" cy="5266476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508697"/>
                <a:gridCol w="1118569"/>
                <a:gridCol w="1315284"/>
                <a:gridCol w="1755636"/>
                <a:gridCol w="1341743"/>
                <a:gridCol w="1341743"/>
                <a:gridCol w="1341743"/>
              </a:tblGrid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170" kern="0" dirty="0" smtClean="0"/>
                        <a:t>Административное производство </a:t>
                      </a:r>
                      <a:endParaRPr lang="ru-RU" sz="117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70" kern="0" dirty="0" err="1" smtClean="0"/>
                        <a:t>Возбужде</a:t>
                      </a:r>
                      <a:r>
                        <a:rPr lang="ru-RU" sz="1170" kern="0" dirty="0" smtClean="0"/>
                        <a:t>-но</a:t>
                      </a:r>
                      <a:r>
                        <a:rPr lang="ru-RU" sz="1170" kern="0" baseline="0" dirty="0" smtClean="0"/>
                        <a:t> дел </a:t>
                      </a:r>
                      <a:endParaRPr lang="ru-RU" sz="1170" b="1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70" b="1" kern="0" dirty="0" smtClean="0"/>
                        <a:t>Вынесено</a:t>
                      </a:r>
                      <a:r>
                        <a:rPr lang="ru-RU" sz="1170" b="1" kern="0" baseline="0" dirty="0" smtClean="0"/>
                        <a:t> </a:t>
                      </a:r>
                      <a:r>
                        <a:rPr lang="ru-RU" sz="1170" b="1" kern="0" baseline="0" dirty="0" err="1" smtClean="0"/>
                        <a:t>постановле-ний</a:t>
                      </a:r>
                      <a:endParaRPr lang="ru-RU" sz="1170" b="1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70" kern="0" dirty="0" smtClean="0"/>
                        <a:t>Кол-во наложенных  предупреждений</a:t>
                      </a:r>
                      <a:endParaRPr lang="ru-RU" sz="1170" b="1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70" kern="0" dirty="0" smtClean="0"/>
                        <a:t>Кол-во наложенных штрафов </a:t>
                      </a:r>
                      <a:endParaRPr lang="ru-RU" sz="1170" b="1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70" kern="0" dirty="0" smtClean="0"/>
                        <a:t>Наложено штрафов (тыс.</a:t>
                      </a:r>
                      <a:r>
                        <a:rPr lang="ru-RU" sz="1170" kern="0" baseline="0" dirty="0" smtClean="0"/>
                        <a:t> </a:t>
                      </a:r>
                      <a:r>
                        <a:rPr lang="ru-RU" sz="1170" kern="0" dirty="0" smtClean="0"/>
                        <a:t>руб.)</a:t>
                      </a:r>
                      <a:endParaRPr lang="ru-RU" sz="1170" b="1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70" kern="0" dirty="0" smtClean="0"/>
                        <a:t>Взыскано штрафов (тыс.</a:t>
                      </a:r>
                      <a:r>
                        <a:rPr lang="ru-RU" sz="1170" kern="0" baseline="0" dirty="0" smtClean="0"/>
                        <a:t> </a:t>
                      </a:r>
                      <a:r>
                        <a:rPr lang="ru-RU" sz="1170" kern="0" dirty="0" smtClean="0"/>
                        <a:t>руб.)</a:t>
                      </a:r>
                      <a:endParaRPr lang="ru-RU" sz="1170" b="1" kern="0" dirty="0" smtClean="0"/>
                    </a:p>
                  </a:txBody>
                  <a:tcPr/>
                </a:tc>
              </a:tr>
              <a:tr h="279256">
                <a:tc>
                  <a:txBody>
                    <a:bodyPr/>
                    <a:lstStyle/>
                    <a:p>
                      <a:r>
                        <a:rPr lang="ru-RU" sz="1170" kern="0" dirty="0" smtClean="0"/>
                        <a:t>Охрана атмосферного воздуха </a:t>
                      </a:r>
                      <a:endParaRPr lang="ru-RU" sz="117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5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8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7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7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24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913224">
                <a:tc>
                  <a:txBody>
                    <a:bodyPr/>
                    <a:lstStyle/>
                    <a:p>
                      <a:r>
                        <a:rPr lang="ru-RU" sz="1170" kern="0" dirty="0" err="1" smtClean="0"/>
                        <a:t>Непостановка</a:t>
                      </a:r>
                      <a:r>
                        <a:rPr lang="ru-RU" sz="1170" kern="0" dirty="0" smtClean="0"/>
                        <a:t> либо несвоевременная постановка</a:t>
                      </a:r>
                      <a:r>
                        <a:rPr lang="ru-RU" sz="1170" kern="0" baseline="0" dirty="0" smtClean="0"/>
                        <a:t> объектов негативного воздействия на государственный учет</a:t>
                      </a:r>
                      <a:endParaRPr lang="ru-RU" sz="117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2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3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9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128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403056">
                <a:tc>
                  <a:txBody>
                    <a:bodyPr/>
                    <a:lstStyle/>
                    <a:p>
                      <a:r>
                        <a:rPr lang="ru-RU" sz="1170" kern="0" dirty="0" smtClean="0"/>
                        <a:t>Обращение</a:t>
                      </a:r>
                      <a:r>
                        <a:rPr lang="ru-RU" sz="1170" kern="0" baseline="0" dirty="0" smtClean="0"/>
                        <a:t> с отходами производства и потребления</a:t>
                      </a:r>
                      <a:endParaRPr lang="ru-RU" sz="117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03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3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2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28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794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1755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70" kern="0" dirty="0" smtClean="0"/>
                        <a:t>Недропольз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999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713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4529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70" kern="0" dirty="0" smtClean="0"/>
                        <a:t>Сокрытие или искажение</a:t>
                      </a:r>
                      <a:r>
                        <a:rPr lang="ru-RU" sz="1170" kern="0" baseline="0" dirty="0" smtClean="0"/>
                        <a:t> экологической информации </a:t>
                      </a:r>
                      <a:endParaRPr lang="ru-RU" sz="117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2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8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31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1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8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93</a:t>
                      </a:r>
                      <a:endParaRPr lang="ru-RU" sz="1200" kern="0" dirty="0"/>
                    </a:p>
                  </a:txBody>
                  <a:tcPr/>
                </a:tc>
              </a:tr>
              <a:tr h="1473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70" kern="0" dirty="0" smtClean="0"/>
                        <a:t>Охрана водных</a:t>
                      </a:r>
                      <a:r>
                        <a:rPr lang="ru-RU" sz="1170" kern="0" baseline="0" dirty="0" smtClean="0"/>
                        <a:t> объектов</a:t>
                      </a:r>
                      <a:endParaRPr lang="ru-RU" sz="1170" kern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3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116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4045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70" kern="0" dirty="0" smtClean="0">
                          <a:latin typeface="+mn-lt"/>
                        </a:rPr>
                        <a:t>Законодательство о пунктах</a:t>
                      </a:r>
                      <a:r>
                        <a:rPr lang="ru-RU" sz="1170" kern="0" baseline="0" dirty="0" smtClean="0">
                          <a:latin typeface="+mn-lt"/>
                        </a:rPr>
                        <a:t> приема-отгрузки древесины </a:t>
                      </a:r>
                      <a:endParaRPr lang="ru-RU" sz="1170" kern="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16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5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5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5301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2779</a:t>
                      </a:r>
                      <a:endParaRPr lang="ru-RU" sz="1200" kern="0" dirty="0"/>
                    </a:p>
                  </a:txBody>
                  <a:tcPr/>
                </a:tc>
              </a:tr>
              <a:tr h="722744">
                <a:tc>
                  <a:txBody>
                    <a:bodyPr/>
                    <a:lstStyle/>
                    <a:p>
                      <a:r>
                        <a:rPr lang="ru-RU" sz="1170" kern="0" dirty="0" smtClean="0">
                          <a:latin typeface="+mn-lt"/>
                          <a:cs typeface="Times New Roman" panose="02020603050405020304" pitchFamily="18" charset="0"/>
                        </a:rPr>
                        <a:t>Уничтожение редких и находящихся под угрозой исчезновения видов растений </a:t>
                      </a:r>
                      <a:endParaRPr lang="ru-RU" sz="1170" kern="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3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4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8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48</a:t>
                      </a:r>
                      <a:endParaRPr lang="ru-RU" sz="1200" kern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107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0" dirty="0" smtClean="0">
                          <a:latin typeface="+mn-lt"/>
                        </a:rPr>
                        <a:t>Итог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>
                          <a:latin typeface="+mn-lt"/>
                        </a:rPr>
                        <a:t>635</a:t>
                      </a:r>
                      <a:endParaRPr lang="ru-RU" sz="1200" b="1" kern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>
                          <a:latin typeface="+mn-lt"/>
                        </a:rPr>
                        <a:t>712</a:t>
                      </a:r>
                      <a:endParaRPr lang="ru-RU" sz="1200" b="1" kern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>
                          <a:latin typeface="+mn-lt"/>
                        </a:rPr>
                        <a:t>369</a:t>
                      </a:r>
                      <a:endParaRPr lang="ru-RU" sz="1200" b="1" kern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>
                          <a:latin typeface="+mn-lt"/>
                        </a:rPr>
                        <a:t>280</a:t>
                      </a:r>
                      <a:endParaRPr lang="ru-RU" sz="1200" b="1" kern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0" dirty="0" smtClean="0">
                          <a:latin typeface="+mn-lt"/>
                        </a:rPr>
                        <a:t>215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0" dirty="0" smtClean="0">
                          <a:latin typeface="+mn-lt"/>
                        </a:rPr>
                        <a:t>4730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722398" y="218159"/>
            <a:ext cx="6481965" cy="646331"/>
          </a:xfrm>
          <a:prstGeom prst="rect">
            <a:avLst/>
          </a:prstGeom>
          <a:solidFill>
            <a:schemeClr val="bg1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ru-RU" alt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Times New Roman" pitchFamily="18" charset="0"/>
              </a:rPr>
              <a:t>РЕГИОНАЛЬНЫЙ ГОСУДАРСТВЕННЫЙ ЭКОЛОГИЧЕСКИЙ НАДЗОР ЗА 2021 г.</a:t>
            </a:r>
          </a:p>
        </p:txBody>
      </p:sp>
    </p:spTree>
    <p:extLst>
      <p:ext uri="{BB962C8B-B14F-4D97-AF65-F5344CB8AC3E}">
        <p14:creationId xmlns:p14="http://schemas.microsoft.com/office/powerpoint/2010/main" val="143862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ЕРЕВОД АИТ С УГОЛЬНОГО ОТОПЛЕНИЯ НА СУГ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49418" y="6516808"/>
            <a:ext cx="471879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6764CBC6-7CF4-49EB-8E40-5380D44F334C}"/>
              </a:ext>
            </a:extLst>
          </p:cNvPr>
          <p:cNvSpPr/>
          <p:nvPr/>
        </p:nvSpPr>
        <p:spPr>
          <a:xfrm>
            <a:off x="5763595" y="3184506"/>
            <a:ext cx="4688781" cy="615681"/>
          </a:xfrm>
          <a:prstGeom prst="rect">
            <a:avLst/>
          </a:prstGeom>
          <a:solidFill>
            <a:srgbClr val="4472C4"/>
          </a:solidFill>
          <a:ln w="3175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wrap="square" tIns="0" bIns="0" rtlCol="0" anchor="ctr">
            <a:spAutoFit/>
          </a:bodyPr>
          <a:lstStyle/>
          <a:p>
            <a:pPr algn="ctr" defTabSz="653156">
              <a:defRPr/>
            </a:pPr>
            <a:r>
              <a:rPr lang="ru-RU" sz="1429" b="1" kern="0" dirty="0">
                <a:solidFill>
                  <a:prstClr val="white"/>
                </a:solidFill>
                <a:cs typeface="Times New Roman" panose="02020603050405020304" pitchFamily="18" charset="0"/>
              </a:rPr>
              <a:t>НЕОБХОДИМЫЕ  РЕШЕНИЯ </a:t>
            </a:r>
            <a:r>
              <a:rPr lang="ru-RU" sz="1286" b="1" dirty="0">
                <a:solidFill>
                  <a:prstClr val="white"/>
                </a:solidFill>
              </a:rPr>
              <a:t>ДЛЯ ДОСТИЖЕНИЯ УСТАНОВЛЕННЫХ ФЕДЕРАЛЬНЫМ ПРОЕКТОМ «ЧИСТЫЙ ВОЗДУХ» ПОКАЗАТЕЛЕЙ В Г. ЧИТА </a:t>
            </a:r>
            <a:endParaRPr lang="ru-RU" sz="1429" b="1" kern="0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1" name="Oval 15">
            <a:extLst>
              <a:ext uri="{FF2B5EF4-FFF2-40B4-BE49-F238E27FC236}">
                <a16:creationId xmlns="" xmlns:a16="http://schemas.microsoft.com/office/drawing/2014/main" id="{FDAD75D6-9896-45B6-9BED-7C8EAACBE04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755058" y="4024071"/>
            <a:ext cx="154286" cy="205714"/>
          </a:xfrm>
          <a:prstGeom prst="ellipse">
            <a:avLst/>
          </a:prstGeom>
          <a:solidFill>
            <a:srgbClr val="4472C4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 anchor="ctr"/>
          <a:lstStyle/>
          <a:p>
            <a:pPr algn="ctr" defTabSz="653156">
              <a:defRPr/>
            </a:pPr>
            <a:r>
              <a:rPr lang="en-GB" sz="1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12" name="Oval 15">
            <a:extLst>
              <a:ext uri="{FF2B5EF4-FFF2-40B4-BE49-F238E27FC236}">
                <a16:creationId xmlns="" xmlns:a16="http://schemas.microsoft.com/office/drawing/2014/main" id="{78658FA1-C674-4E0B-81B7-80A6FE1A54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55058" y="6228949"/>
            <a:ext cx="154286" cy="205714"/>
          </a:xfrm>
          <a:prstGeom prst="ellipse">
            <a:avLst/>
          </a:prstGeom>
          <a:solidFill>
            <a:srgbClr val="4472C4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 anchor="ctr"/>
          <a:lstStyle/>
          <a:p>
            <a:pPr algn="ctr" defTabSz="653156">
              <a:defRPr/>
            </a:pPr>
            <a:r>
              <a:rPr lang="ru-RU" sz="1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GB" sz="1000" b="1" kern="0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051388" y="6127418"/>
            <a:ext cx="4400989" cy="532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326578"/>
            <a:r>
              <a:rPr lang="ru-RU" sz="1429" dirty="0">
                <a:solidFill>
                  <a:prstClr val="black"/>
                </a:solidFill>
              </a:rPr>
              <a:t>Субсидирование автономной газификации АИТ в г. Чита - 3,4 млрд. рубле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51388" y="3973188"/>
            <a:ext cx="4400989" cy="2291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326578"/>
            <a:r>
              <a:rPr lang="ru-RU" sz="1429" dirty="0">
                <a:solidFill>
                  <a:prstClr val="black"/>
                </a:solidFill>
              </a:rPr>
              <a:t>Установление порядка поставок гарантированного объема СУГ для коммунально-бытовых нужд населения (балансовый газ) по регулируемым оптовым ценам, обеспечивающим экономическую конкуренцию с локальными «грязными» видами топлива, или принятие порядка субсидирования СУГ для негазифицированных городов-участников федерального проекта «Чистый воздух» национального проекта  «Экология»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755059" y="1067641"/>
            <a:ext cx="4688781" cy="43386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r>
              <a:rPr lang="ru-RU" sz="1429" b="1" dirty="0">
                <a:solidFill>
                  <a:srgbClr val="0070C0"/>
                </a:solidFill>
              </a:rPr>
              <a:t>ПРОБЛЕМНЫЕ ВОПРОСЫ</a:t>
            </a:r>
          </a:p>
        </p:txBody>
      </p:sp>
      <p:sp>
        <p:nvSpPr>
          <p:cNvPr id="23" name="Oval 15">
            <a:extLst>
              <a:ext uri="{FF2B5EF4-FFF2-40B4-BE49-F238E27FC236}">
                <a16:creationId xmlns="" xmlns:a16="http://schemas.microsoft.com/office/drawing/2014/main" id="{FDAD75D6-9896-45B6-9BED-7C8EAACBE0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755058" y="1676497"/>
            <a:ext cx="154286" cy="205714"/>
          </a:xfrm>
          <a:prstGeom prst="ellipse">
            <a:avLst/>
          </a:prstGeom>
          <a:solidFill>
            <a:srgbClr val="4472C4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 anchor="ctr"/>
          <a:lstStyle/>
          <a:p>
            <a:pPr algn="ctr" defTabSz="653156">
              <a:defRPr/>
            </a:pPr>
            <a:r>
              <a:rPr lang="en-GB" sz="1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24" name="Oval 15">
            <a:extLst>
              <a:ext uri="{FF2B5EF4-FFF2-40B4-BE49-F238E27FC236}">
                <a16:creationId xmlns="" xmlns:a16="http://schemas.microsoft.com/office/drawing/2014/main" id="{78658FA1-C674-4E0B-81B7-80A6FE1A54C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55058" y="2142642"/>
            <a:ext cx="154286" cy="205714"/>
          </a:xfrm>
          <a:prstGeom prst="ellipse">
            <a:avLst/>
          </a:prstGeom>
          <a:solidFill>
            <a:srgbClr val="4472C4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 anchor="ctr"/>
          <a:lstStyle/>
          <a:p>
            <a:pPr algn="ctr" defTabSz="653156">
              <a:defRPr/>
            </a:pPr>
            <a:r>
              <a:rPr lang="ru-RU" sz="1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GB" sz="1000" b="1" kern="0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042851" y="1622874"/>
            <a:ext cx="4400989" cy="312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326578"/>
            <a:r>
              <a:rPr lang="ru-RU" sz="1429" dirty="0">
                <a:solidFill>
                  <a:prstClr val="black"/>
                </a:solidFill>
              </a:rPr>
              <a:t>Забайкальский край не газифицирован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042851" y="2086876"/>
            <a:ext cx="4400989" cy="532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326578"/>
            <a:r>
              <a:rPr lang="ru-RU" sz="1429" dirty="0">
                <a:solidFill>
                  <a:prstClr val="black"/>
                </a:solidFill>
              </a:rPr>
              <a:t>Стоимость отопления СУГ в 3-4 раза выше, чем углем</a:t>
            </a:r>
          </a:p>
        </p:txBody>
      </p:sp>
      <p:sp>
        <p:nvSpPr>
          <p:cNvPr id="27" name="Oval 15">
            <a:extLst>
              <a:ext uri="{FF2B5EF4-FFF2-40B4-BE49-F238E27FC236}">
                <a16:creationId xmlns="" xmlns:a16="http://schemas.microsoft.com/office/drawing/2014/main" id="{78658FA1-C674-4E0B-81B7-80A6FE1A54C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755058" y="2566089"/>
            <a:ext cx="154286" cy="205714"/>
          </a:xfrm>
          <a:prstGeom prst="ellipse">
            <a:avLst/>
          </a:prstGeom>
          <a:solidFill>
            <a:srgbClr val="4472C4"/>
          </a:solidFill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 anchor="ctr"/>
          <a:lstStyle/>
          <a:p>
            <a:pPr algn="ctr" defTabSz="653156">
              <a:defRPr/>
            </a:pPr>
            <a:r>
              <a:rPr lang="ru-RU" sz="1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GB" sz="1000" b="1" kern="0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041635" y="2524345"/>
            <a:ext cx="4410741" cy="532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26578"/>
            <a:r>
              <a:rPr lang="ru-RU" sz="1429" dirty="0">
                <a:solidFill>
                  <a:prstClr val="black"/>
                </a:solidFill>
              </a:rPr>
              <a:t>В региональном бюджете отсутствуют средства для субсидирования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748312" y="1067641"/>
            <a:ext cx="3546337" cy="43386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r>
              <a:rPr lang="ru-RU" sz="1714" b="1" dirty="0">
                <a:solidFill>
                  <a:srgbClr val="0070C0"/>
                </a:solidFill>
              </a:rPr>
              <a:t>Газификация города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8" t="10080" r="10036" b="43465"/>
          <a:stretch/>
        </p:blipFill>
        <p:spPr>
          <a:xfrm>
            <a:off x="1748312" y="1765770"/>
            <a:ext cx="3546337" cy="4253353"/>
          </a:xfrm>
          <a:prstGeom prst="rect">
            <a:avLst/>
          </a:prstGeom>
          <a:ln>
            <a:noFill/>
          </a:ln>
          <a:effectLst/>
        </p:spPr>
      </p:pic>
      <p:sp>
        <p:nvSpPr>
          <p:cNvPr id="31" name="Прямоугольник 30"/>
          <p:cNvSpPr/>
          <p:nvPr/>
        </p:nvSpPr>
        <p:spPr>
          <a:xfrm>
            <a:off x="1748312" y="6211739"/>
            <a:ext cx="3546337" cy="5474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326578">
              <a:lnSpc>
                <a:spcPct val="115000"/>
              </a:lnSpc>
              <a:spcBef>
                <a:spcPts val="429"/>
              </a:spcBef>
              <a:spcAft>
                <a:spcPts val="429"/>
              </a:spcAft>
            </a:pPr>
            <a:r>
              <a:rPr lang="ru-RU" sz="1286" b="1" dirty="0">
                <a:solidFill>
                  <a:srgbClr val="008000"/>
                </a:solidFill>
                <a:ea typeface="Calibri" panose="020F0502020204030204" pitchFamily="34" charset="0"/>
              </a:rPr>
              <a:t>Уменьшение </a:t>
            </a:r>
            <a:r>
              <a:rPr lang="ru-RU" sz="1286">
                <a:solidFill>
                  <a:prstClr val="black"/>
                </a:solidFill>
                <a:ea typeface="Calibri" panose="020F0502020204030204" pitchFamily="34" charset="0"/>
              </a:rPr>
              <a:t>выбросы от АИТ </a:t>
            </a:r>
            <a:r>
              <a:rPr lang="ru-RU" sz="1286" b="1" dirty="0">
                <a:solidFill>
                  <a:srgbClr val="008000"/>
                </a:solidFill>
                <a:ea typeface="Calibri" panose="020F0502020204030204" pitchFamily="34" charset="0"/>
              </a:rPr>
              <a:t>в 10 раз</a:t>
            </a:r>
            <a:r>
              <a:rPr lang="ru-RU" sz="1286" dirty="0">
                <a:solidFill>
                  <a:srgbClr val="008000"/>
                </a:solidFill>
                <a:ea typeface="Calibri" panose="020F0502020204030204" pitchFamily="34" charset="0"/>
              </a:rPr>
              <a:t> </a:t>
            </a:r>
            <a:r>
              <a:rPr lang="ru-RU" sz="1286" dirty="0">
                <a:solidFill>
                  <a:prstClr val="black"/>
                </a:solidFill>
                <a:ea typeface="Calibri" panose="020F0502020204030204" pitchFamily="34" charset="0"/>
              </a:rPr>
              <a:t>(3 тысячи тонн в год)</a:t>
            </a:r>
          </a:p>
        </p:txBody>
      </p:sp>
    </p:spTree>
    <p:extLst>
      <p:ext uri="{BB962C8B-B14F-4D97-AF65-F5344CB8AC3E}">
        <p14:creationId xmlns:p14="http://schemas.microsoft.com/office/powerpoint/2010/main" val="40531649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6" hidden="1">
            <a:extLst>
              <a:ext uri="{FF2B5EF4-FFF2-40B4-BE49-F238E27FC236}">
                <a16:creationId xmlns="" xmlns:a16="http://schemas.microsoft.com/office/drawing/2014/main" id="{BE174EA5-253C-41DB-9C13-59D2D3D044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33CC6592-AA49-450A-9312-8F655356AD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defTabSz="326578">
              <a:lnSpc>
                <a:spcPct val="90000"/>
              </a:lnSpc>
              <a:defRPr/>
            </a:pPr>
            <a:endParaRPr lang="ru-RU" sz="2286" b="1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6257165" y="1995007"/>
            <a:ext cx="526413" cy="564435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26578">
              <a:defRPr/>
            </a:pPr>
            <a:endParaRPr lang="ru-RU" sz="1286">
              <a:solidFill>
                <a:prstClr val="white"/>
              </a:solidFill>
            </a:endParaRPr>
          </a:p>
        </p:txBody>
      </p:sp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6817004" y="1281870"/>
            <a:ext cx="3571080" cy="2071721"/>
          </a:xfrm>
          <a:prstGeom prst="rect">
            <a:avLst/>
          </a:prstGeom>
          <a:solidFill>
            <a:schemeClr val="tx2">
              <a:lumMod val="10000"/>
              <a:lumOff val="90000"/>
              <a:alpha val="43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5715" defTabSz="653156">
              <a:defRPr/>
            </a:pPr>
            <a:r>
              <a:rPr lang="ru-RU" sz="1429" dirty="0">
                <a:solidFill>
                  <a:prstClr val="black"/>
                </a:solidFill>
              </a:rPr>
              <a:t>По результатам сводных расчетов выбросы загрязняющих веществ от </a:t>
            </a:r>
            <a:r>
              <a:rPr lang="ru-RU" sz="1429" b="1" dirty="0">
                <a:solidFill>
                  <a:srgbClr val="AD0101"/>
                </a:solidFill>
              </a:rPr>
              <a:t>АИТ г. Читы оказывают существенный вклад в уровень загрязнения атмосферного воздуха</a:t>
            </a:r>
            <a:r>
              <a:rPr lang="ru-RU" sz="1429" dirty="0">
                <a:solidFill>
                  <a:prstClr val="black"/>
                </a:solidFill>
              </a:rPr>
              <a:t>, в связи с чем целесообразно проведение мероприятий по снижению выбросов от автономных источников теплоснабжения частного сектора</a:t>
            </a:r>
            <a:endParaRPr lang="ru-RU" sz="1429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pic>
        <p:nvPicPr>
          <p:cNvPr id="9" name="Рисунок 8" descr="703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665" y="1141241"/>
            <a:ext cx="4287148" cy="437274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1836463" y="5572460"/>
            <a:ext cx="4619552" cy="356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5" algn="ctr" defTabSz="653156">
              <a:defRPr/>
            </a:pPr>
            <a:r>
              <a:rPr lang="ru-RU" sz="857" dirty="0">
                <a:solidFill>
                  <a:prstClr val="black"/>
                </a:solidFill>
              </a:rPr>
              <a:t>Распределение максимальных разовых концентраций (в долях 10</a:t>
            </a:r>
            <a:r>
              <a:rPr lang="ru-RU" sz="857" dirty="0">
                <a:solidFill>
                  <a:prstClr val="black"/>
                </a:solidFill>
                <a:sym typeface="Symbol"/>
              </a:rPr>
              <a:t></a:t>
            </a:r>
            <a:r>
              <a:rPr lang="ru-RU" sz="857" dirty="0">
                <a:solidFill>
                  <a:prstClr val="black"/>
                </a:solidFill>
              </a:rPr>
              <a:t>ПДК</a:t>
            </a:r>
            <a:r>
              <a:rPr lang="ru-RU" sz="857" baseline="-25000" dirty="0">
                <a:solidFill>
                  <a:prstClr val="black"/>
                </a:solidFill>
              </a:rPr>
              <a:t>сс</a:t>
            </a:r>
            <a:r>
              <a:rPr lang="ru-RU" sz="857" dirty="0">
                <a:solidFill>
                  <a:prstClr val="black"/>
                </a:solidFill>
              </a:rPr>
              <a:t>) </a:t>
            </a:r>
            <a:r>
              <a:rPr lang="ru-RU" sz="857" dirty="0" err="1">
                <a:solidFill>
                  <a:prstClr val="black"/>
                </a:solidFill>
              </a:rPr>
              <a:t>бенз</a:t>
            </a:r>
            <a:r>
              <a:rPr lang="ru-RU" sz="857" dirty="0">
                <a:solidFill>
                  <a:prstClr val="black"/>
                </a:solidFill>
              </a:rPr>
              <a:t>/а/</a:t>
            </a:r>
            <a:r>
              <a:rPr lang="ru-RU" sz="857" dirty="0" err="1">
                <a:solidFill>
                  <a:prstClr val="black"/>
                </a:solidFill>
              </a:rPr>
              <a:t>пирена</a:t>
            </a:r>
            <a:r>
              <a:rPr lang="ru-RU" sz="857" dirty="0">
                <a:solidFill>
                  <a:prstClr val="black"/>
                </a:solidFill>
              </a:rPr>
              <a:t>, создаваемых выбросами АИТ г. Читы)</a:t>
            </a:r>
          </a:p>
        </p:txBody>
      </p:sp>
      <p:sp>
        <p:nvSpPr>
          <p:cNvPr id="11" name="TextBox 2"/>
          <p:cNvSpPr txBox="1">
            <a:spLocks noChangeArrowheads="1"/>
          </p:cNvSpPr>
          <p:nvPr/>
        </p:nvSpPr>
        <p:spPr bwMode="auto">
          <a:xfrm>
            <a:off x="6632773" y="4009583"/>
            <a:ext cx="3755311" cy="752129"/>
          </a:xfrm>
          <a:prstGeom prst="rect">
            <a:avLst/>
          </a:prstGeom>
          <a:solidFill>
            <a:schemeClr val="tx2">
              <a:lumMod val="10000"/>
              <a:lumOff val="90000"/>
              <a:alpha val="43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5715" defTabSz="653156">
              <a:defRPr/>
            </a:pPr>
            <a:r>
              <a:rPr lang="ru-RU" sz="1429" b="1" dirty="0">
                <a:solidFill>
                  <a:prstClr val="black"/>
                </a:solidFill>
              </a:rPr>
              <a:t>Совокупный объем выбросов </a:t>
            </a:r>
            <a:r>
              <a:rPr lang="ru-RU" sz="1429" dirty="0">
                <a:solidFill>
                  <a:prstClr val="black"/>
                </a:solidFill>
              </a:rPr>
              <a:t>снизится к 2024 году на </a:t>
            </a:r>
            <a:r>
              <a:rPr lang="ru-RU" sz="1429" b="1" dirty="0">
                <a:solidFill>
                  <a:srgbClr val="AD0101"/>
                </a:solidFill>
              </a:rPr>
              <a:t>10,8 тыс. тонн (14,29%</a:t>
            </a:r>
            <a:r>
              <a:rPr lang="ru-RU" sz="1429" b="1" dirty="0">
                <a:solidFill>
                  <a:prstClr val="black"/>
                </a:solidFill>
              </a:rPr>
              <a:t> по отношению к 2017 году)</a:t>
            </a: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6632772" y="3397065"/>
            <a:ext cx="3755311" cy="554191"/>
          </a:xfrm>
          <a:prstGeom prst="rect">
            <a:avLst/>
          </a:prstGeom>
          <a:solidFill>
            <a:schemeClr val="tx2">
              <a:lumMod val="10000"/>
              <a:lumOff val="90000"/>
              <a:alpha val="43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5715" algn="ctr" defTabSz="653156">
              <a:lnSpc>
                <a:spcPct val="70000"/>
              </a:lnSpc>
              <a:defRPr/>
            </a:pPr>
            <a:r>
              <a:rPr lang="ru-RU" sz="1429" b="1" dirty="0">
                <a:solidFill>
                  <a:prstClr val="black"/>
                </a:solidFill>
              </a:rPr>
              <a:t>После газификации СУГ </a:t>
            </a:r>
          </a:p>
          <a:p>
            <a:pPr marL="25715" algn="ctr" defTabSz="653156">
              <a:lnSpc>
                <a:spcPct val="70000"/>
              </a:lnSpc>
              <a:defRPr/>
            </a:pPr>
            <a:r>
              <a:rPr lang="ru-RU" sz="1429" b="1" dirty="0">
                <a:solidFill>
                  <a:prstClr val="black"/>
                </a:solidFill>
              </a:rPr>
              <a:t>частного сектора </a:t>
            </a:r>
          </a:p>
          <a:p>
            <a:pPr marL="25715" algn="ctr" defTabSz="653156">
              <a:lnSpc>
                <a:spcPct val="70000"/>
              </a:lnSpc>
              <a:defRPr/>
            </a:pPr>
            <a:r>
              <a:rPr lang="ru-RU" sz="1429" b="1" dirty="0">
                <a:solidFill>
                  <a:prstClr val="black"/>
                </a:solidFill>
              </a:rPr>
              <a:t>(более 11 тыс. домовладений)</a:t>
            </a:r>
            <a:endParaRPr lang="ru-RU" sz="1429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22" name="TextBox 2"/>
          <p:cNvSpPr txBox="1">
            <a:spLocks noChangeArrowheads="1"/>
          </p:cNvSpPr>
          <p:nvPr/>
        </p:nvSpPr>
        <p:spPr bwMode="auto">
          <a:xfrm>
            <a:off x="6632773" y="4809716"/>
            <a:ext cx="3755311" cy="972061"/>
          </a:xfrm>
          <a:prstGeom prst="rect">
            <a:avLst/>
          </a:prstGeom>
          <a:solidFill>
            <a:schemeClr val="tx2">
              <a:lumMod val="10000"/>
              <a:lumOff val="90000"/>
              <a:alpha val="43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5715" defTabSz="653156">
              <a:defRPr/>
            </a:pPr>
            <a:r>
              <a:rPr lang="ru-RU" sz="1429" b="1" dirty="0">
                <a:solidFill>
                  <a:prstClr val="black"/>
                </a:solidFill>
              </a:rPr>
              <a:t>Совокупный объем выбросов опасных </a:t>
            </a:r>
            <a:r>
              <a:rPr lang="ru-RU" sz="1429" dirty="0">
                <a:solidFill>
                  <a:prstClr val="black"/>
                </a:solidFill>
              </a:rPr>
              <a:t>загрязняющих веществ на </a:t>
            </a:r>
            <a:r>
              <a:rPr lang="ru-RU" sz="1429" b="1" dirty="0">
                <a:solidFill>
                  <a:srgbClr val="AD0101"/>
                </a:solidFill>
              </a:rPr>
              <a:t>10,8 тыс. тонн (14,42% </a:t>
            </a:r>
            <a:r>
              <a:rPr lang="ru-RU" sz="1429" b="1" dirty="0">
                <a:solidFill>
                  <a:prstClr val="black"/>
                </a:solidFill>
              </a:rPr>
              <a:t>по отношению к 2017 году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430179" y="6619874"/>
            <a:ext cx="204716" cy="2381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r>
              <a:rPr lang="ru-RU" sz="1000" dirty="0">
                <a:solidFill>
                  <a:prstClr val="black"/>
                </a:solidFill>
              </a:rPr>
              <a:t>7</a:t>
            </a:r>
          </a:p>
        </p:txBody>
      </p:sp>
      <p:sp>
        <p:nvSpPr>
          <p:cNvPr id="17" name="TextBox 2"/>
          <p:cNvSpPr txBox="1">
            <a:spLocks noChangeArrowheads="1"/>
          </p:cNvSpPr>
          <p:nvPr/>
        </p:nvSpPr>
        <p:spPr bwMode="auto">
          <a:xfrm>
            <a:off x="1761794" y="434655"/>
            <a:ext cx="7770010" cy="3122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326578"/>
            <a:r>
              <a:rPr lang="ru-RU" sz="1429" b="1" dirty="0">
                <a:solidFill>
                  <a:prstClr val="black"/>
                </a:solidFill>
              </a:rPr>
              <a:t>Мероприятие, подлежащее дополнительной проработке </a:t>
            </a:r>
          </a:p>
        </p:txBody>
      </p:sp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2002664" y="5902221"/>
            <a:ext cx="8385419" cy="752129"/>
          </a:xfrm>
          <a:prstGeom prst="rect">
            <a:avLst/>
          </a:prstGeom>
          <a:solidFill>
            <a:schemeClr val="tx2">
              <a:lumMod val="10000"/>
              <a:lumOff val="90000"/>
              <a:alpha val="43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5715" defTabSz="653156">
              <a:defRPr/>
            </a:pPr>
            <a:r>
              <a:rPr lang="ru-RU" sz="1429" b="1" dirty="0">
                <a:solidFill>
                  <a:prstClr val="black"/>
                </a:solidFill>
              </a:rPr>
              <a:t>Стоимость: подключение к централизованному теплоснабжению – 34,0 млрд. рублей</a:t>
            </a:r>
          </a:p>
          <a:p>
            <a:pPr marL="25715" defTabSz="653156">
              <a:defRPr/>
            </a:pPr>
            <a:r>
              <a:rPr lang="ru-RU" sz="1429" b="1" dirty="0">
                <a:solidFill>
                  <a:prstClr val="black"/>
                </a:solidFill>
              </a:rPr>
              <a:t>                      перевод на </a:t>
            </a:r>
            <a:r>
              <a:rPr lang="ru-RU" sz="1429" b="1" dirty="0" err="1">
                <a:solidFill>
                  <a:prstClr val="black"/>
                </a:solidFill>
              </a:rPr>
              <a:t>электроотопление</a:t>
            </a:r>
            <a:r>
              <a:rPr lang="ru-RU" sz="1429" b="1" dirty="0">
                <a:solidFill>
                  <a:prstClr val="black"/>
                </a:solidFill>
              </a:rPr>
              <a:t> – 8,0 млрд. рублей</a:t>
            </a:r>
          </a:p>
          <a:p>
            <a:pPr marL="25715" defTabSz="653156">
              <a:defRPr/>
            </a:pPr>
            <a:r>
              <a:rPr lang="ru-RU" sz="1429" b="1" dirty="0">
                <a:solidFill>
                  <a:prstClr val="black"/>
                </a:solidFill>
              </a:rPr>
              <a:t>                      подключение к автономной газификации – 4,0 млрд. рублей</a:t>
            </a:r>
          </a:p>
        </p:txBody>
      </p:sp>
    </p:spTree>
    <p:extLst>
      <p:ext uri="{BB962C8B-B14F-4D97-AF65-F5344CB8AC3E}">
        <p14:creationId xmlns:p14="http://schemas.microsoft.com/office/powerpoint/2010/main" val="339025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ирование расходов 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реализацию полномочий Министерства в 2021 году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5339" y="981591"/>
            <a:ext cx="6199274" cy="1059777"/>
          </a:xfrm>
          <a:prstGeom prst="rect">
            <a:avLst/>
          </a:prstGeom>
          <a:solidFill>
            <a:srgbClr val="B3BBCB">
              <a:alpha val="49000"/>
            </a:srgbClr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defTabSz="326578"/>
            <a:r>
              <a:rPr lang="ru-RU" sz="1714" dirty="0"/>
              <a:t>Объём финансирования на 2021 год – </a:t>
            </a:r>
          </a:p>
          <a:p>
            <a:pPr algn="ctr" defTabSz="326578"/>
            <a:r>
              <a:rPr lang="ru-RU" sz="1714" b="1" dirty="0"/>
              <a:t>2 млрд. 772 млн. рублей</a:t>
            </a:r>
          </a:p>
          <a:p>
            <a:pPr algn="ctr" defTabSz="326578"/>
            <a:r>
              <a:rPr lang="ru-RU" sz="1429" dirty="0"/>
              <a:t>(объем финансирования на 2020 год – </a:t>
            </a:r>
          </a:p>
          <a:p>
            <a:pPr algn="ctr" defTabSz="326578"/>
            <a:r>
              <a:rPr lang="ru-RU" sz="1429" b="1" dirty="0"/>
              <a:t>2 млрд. 447 млн. рублей</a:t>
            </a:r>
            <a:r>
              <a:rPr lang="ru-RU" sz="1429" dirty="0"/>
              <a:t>)	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769475" y="1234407"/>
            <a:ext cx="3667024" cy="2902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 defTabSz="326578"/>
            <a:r>
              <a:rPr lang="ru-RU" sz="1286" b="1" dirty="0">
                <a:solidFill>
                  <a:prstClr val="black"/>
                </a:solidFill>
              </a:rPr>
              <a:t>Процент освоения – 98,2 %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22205" y="2129171"/>
            <a:ext cx="4570411" cy="410309"/>
          </a:xfrm>
          <a:prstGeom prst="rect">
            <a:avLst/>
          </a:prstGeom>
          <a:gradFill>
            <a:gsLst>
              <a:gs pos="0">
                <a:srgbClr val="FFD1D1"/>
              </a:gs>
              <a:gs pos="0">
                <a:schemeClr val="accent1">
                  <a:lumMod val="105000"/>
                  <a:satMod val="103000"/>
                  <a:tint val="73000"/>
                </a:schemeClr>
              </a:gs>
              <a:gs pos="100000">
                <a:srgbClr val="FFBCBC"/>
              </a:gs>
            </a:gsLst>
          </a:gradFill>
          <a:ln>
            <a:solidFill>
              <a:srgbClr val="FFBCBC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dirty="0">
                <a:solidFill>
                  <a:prstClr val="black"/>
                </a:solidFill>
              </a:rPr>
              <a:t>Федеральный бюджет – 2 млрд. 120 млн. рубле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17419" y="2564277"/>
            <a:ext cx="4575198" cy="401934"/>
          </a:xfrm>
          <a:prstGeom prst="rect">
            <a:avLst/>
          </a:prstGeom>
          <a:gradFill>
            <a:gsLst>
              <a:gs pos="0">
                <a:srgbClr val="B3BBCB"/>
              </a:gs>
              <a:gs pos="0">
                <a:schemeClr val="accent1">
                  <a:lumMod val="105000"/>
                  <a:satMod val="103000"/>
                  <a:tint val="73000"/>
                </a:schemeClr>
              </a:gs>
              <a:gs pos="100000">
                <a:srgbClr val="FFBCBC"/>
              </a:gs>
            </a:gsLst>
          </a:gradFill>
          <a:ln>
            <a:solidFill>
              <a:srgbClr val="FFBCBC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dirty="0">
                <a:solidFill>
                  <a:prstClr val="black"/>
                </a:solidFill>
              </a:rPr>
              <a:t>Краевой бюджет - 652 млн. рублей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068808" y="3062389"/>
            <a:ext cx="5300506" cy="485670"/>
          </a:xfrm>
          <a:prstGeom prst="rect">
            <a:avLst/>
          </a:prstGeom>
          <a:gradFill>
            <a:gsLst>
              <a:gs pos="2000">
                <a:srgbClr val="7483A0"/>
              </a:gs>
              <a:gs pos="3000">
                <a:schemeClr val="accent2">
                  <a:lumMod val="105000"/>
                  <a:satMod val="103000"/>
                  <a:tint val="73000"/>
                </a:schemeClr>
              </a:gs>
              <a:gs pos="20000">
                <a:srgbClr val="B3BBCB"/>
              </a:gs>
            </a:gsLst>
          </a:gra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26578"/>
            <a:r>
              <a:rPr lang="ru-RU" sz="1286" dirty="0">
                <a:solidFill>
                  <a:prstClr val="black"/>
                </a:solidFill>
              </a:rPr>
              <a:t>Структура финансирования в разрезе государственных программ </a:t>
            </a:r>
          </a:p>
        </p:txBody>
      </p:sp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val="2128737230"/>
              </p:ext>
            </p:extLst>
          </p:nvPr>
        </p:nvGraphicFramePr>
        <p:xfrm>
          <a:off x="532049" y="3483429"/>
          <a:ext cx="8034171" cy="32824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1027787497"/>
              </p:ext>
            </p:extLst>
          </p:nvPr>
        </p:nvGraphicFramePr>
        <p:xfrm>
          <a:off x="7050593" y="1601554"/>
          <a:ext cx="4756219" cy="5000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16135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765420996"/>
              </p:ext>
            </p:extLst>
          </p:nvPr>
        </p:nvGraphicFramePr>
        <p:xfrm>
          <a:off x="505339" y="962967"/>
          <a:ext cx="11271025" cy="5970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 rot="10800000" flipV="1">
            <a:off x="509418" y="101238"/>
            <a:ext cx="9867636" cy="7871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26578"/>
            <a:r>
              <a:rPr lang="ru-RU" sz="2286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национального проекта «Экология» в 2021 году </a:t>
            </a:r>
          </a:p>
        </p:txBody>
      </p:sp>
    </p:spTree>
    <p:extLst>
      <p:ext uri="{BB962C8B-B14F-4D97-AF65-F5344CB8AC3E}">
        <p14:creationId xmlns:p14="http://schemas.microsoft.com/office/powerpoint/2010/main" val="297932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48" y="441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334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136983" y="397970"/>
            <a:ext cx="9845040" cy="461392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</a:t>
            </a: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ласти лесных отношений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619" y="907429"/>
            <a:ext cx="5688633" cy="5617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094997169"/>
              </p:ext>
            </p:extLst>
          </p:nvPr>
        </p:nvGraphicFramePr>
        <p:xfrm>
          <a:off x="179835" y="1006145"/>
          <a:ext cx="7360249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8443" y="2206588"/>
            <a:ext cx="1227609" cy="1190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26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88098" y="406032"/>
            <a:ext cx="7166234" cy="446209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lvl="0"/>
            <a:r>
              <a:rPr lang="ru-RU" sz="23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задачи в области лесных отношений</a:t>
            </a:r>
            <a:endParaRPr lang="ru-RU" sz="23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529325792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6510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5339" y="97870"/>
            <a:ext cx="9825204" cy="790489"/>
          </a:xfrm>
        </p:spPr>
        <p:txBody>
          <a:bodyPr>
            <a:normAutofit/>
          </a:bodyPr>
          <a:lstStyle/>
          <a:p>
            <a:pPr algn="ctr"/>
            <a:r>
              <a:rPr lang="ru-R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переданных полномочий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ласти лесных отношений в ДФО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79870" y="1212062"/>
            <a:ext cx="1677639" cy="2902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4169"/>
            <a:r>
              <a:rPr lang="ru-RU" sz="1286" b="1" dirty="0">
                <a:solidFill>
                  <a:prstClr val="black"/>
                </a:solidFill>
              </a:rPr>
              <a:t>ДФО </a:t>
            </a:r>
            <a:r>
              <a:rPr lang="en-US" sz="1286" b="1" dirty="0">
                <a:solidFill>
                  <a:prstClr val="black"/>
                </a:solidFill>
              </a:rPr>
              <a:t>202</a:t>
            </a:r>
            <a:r>
              <a:rPr lang="ru-RU" sz="1286" b="1" dirty="0">
                <a:solidFill>
                  <a:prstClr val="black"/>
                </a:solidFill>
              </a:rPr>
              <a:t>1г.</a:t>
            </a:r>
            <a:r>
              <a:rPr lang="en-US" sz="1286" b="1" dirty="0">
                <a:solidFill>
                  <a:prstClr val="black"/>
                </a:solidFill>
              </a:rPr>
              <a:t>, </a:t>
            </a:r>
            <a:r>
              <a:rPr lang="ru-RU" sz="857" b="1" dirty="0">
                <a:solidFill>
                  <a:prstClr val="black"/>
                </a:solidFill>
              </a:rPr>
              <a:t>млн. 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4517621"/>
              </p:ext>
            </p:extLst>
          </p:nvPr>
        </p:nvGraphicFramePr>
        <p:xfrm>
          <a:off x="1" y="1689774"/>
          <a:ext cx="6989775" cy="4795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7272349" y="1309066"/>
            <a:ext cx="4545107" cy="292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algn="ctr" defTabSz="814169"/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финансирования в 2 раза</a:t>
            </a: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/>
          </p:nvPr>
        </p:nvGraphicFramePr>
        <p:xfrm>
          <a:off x="7137527" y="1795050"/>
          <a:ext cx="4814751" cy="1247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6585712" y="3524358"/>
            <a:ext cx="4545107" cy="292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algn="ctr" defTabSz="814169"/>
            <a:r>
              <a:rPr lang="ru-R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расходов 2021г.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739252"/>
              </p:ext>
            </p:extLst>
          </p:nvPr>
        </p:nvGraphicFramePr>
        <p:xfrm>
          <a:off x="5927645" y="4037607"/>
          <a:ext cx="5889812" cy="2496277"/>
        </p:xfrm>
        <a:graphic>
          <a:graphicData uri="http://schemas.openxmlformats.org/drawingml/2006/table">
            <a:tbl>
              <a:tblPr/>
              <a:tblGrid>
                <a:gridCol w="3627863"/>
                <a:gridCol w="1094405"/>
                <a:gridCol w="1167544"/>
              </a:tblGrid>
              <a:tr h="4456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расходов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 руб.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, 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611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Лесохозяйственные мероприятия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,6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,7%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338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Содержание лесничеств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7,2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6%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0260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Техника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0,6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8%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5369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Лесоустройство, кадастровый учет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0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%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2355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Обеспечение деятельности аппарата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,3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%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16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RKof26lIgh6xdFCLedcw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RKof26lIgh6xdFCLedc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yBg1mROa8l0mvkXYa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heme/theme1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7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8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9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eme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FB843416-924F-445C-B343-6AF573F35FA8}" vid="{99B73B37-02A6-4A18-9E85-6AD289243EDF}"/>
    </a:ext>
  </a:extLst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58</TotalTime>
  <Words>5910</Words>
  <Application>Microsoft Office PowerPoint</Application>
  <PresentationFormat>Широкоэкранный</PresentationFormat>
  <Paragraphs>1428</Paragraphs>
  <Slides>49</Slides>
  <Notes>3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9</vt:i4>
      </vt:variant>
    </vt:vector>
  </HeadingPairs>
  <TitlesOfParts>
    <vt:vector size="84" baseType="lpstr">
      <vt:lpstr>Arial</vt:lpstr>
      <vt:lpstr>Arial Black</vt:lpstr>
      <vt:lpstr>Arial Nova</vt:lpstr>
      <vt:lpstr>Calibri</vt:lpstr>
      <vt:lpstr>Calibri Light</vt:lpstr>
      <vt:lpstr>Courier New</vt:lpstr>
      <vt:lpstr>Helvetica</vt:lpstr>
      <vt:lpstr>Helvetica Neue</vt:lpstr>
      <vt:lpstr>Symbol</vt:lpstr>
      <vt:lpstr>Times New Roman</vt:lpstr>
      <vt:lpstr>Wingdings</vt:lpstr>
      <vt:lpstr>10_Тема Office</vt:lpstr>
      <vt:lpstr>16_Тема Office</vt:lpstr>
      <vt:lpstr>Тема Office</vt:lpstr>
      <vt:lpstr>Theme1</vt:lpstr>
      <vt:lpstr>1_Тема Office</vt:lpstr>
      <vt:lpstr>Office Theme</vt:lpstr>
      <vt:lpstr>5_Office Theme</vt:lpstr>
      <vt:lpstr>6_Office Theme</vt:lpstr>
      <vt:lpstr>18_Тема Office</vt:lpstr>
      <vt:lpstr>19_Тема Office</vt:lpstr>
      <vt:lpstr>2_Office Theme</vt:lpstr>
      <vt:lpstr>20_Тема Office</vt:lpstr>
      <vt:lpstr>6_Тема Office</vt:lpstr>
      <vt:lpstr>3_Тема Office</vt:lpstr>
      <vt:lpstr>4_Тема Office</vt:lpstr>
      <vt:lpstr>3_Office Theme</vt:lpstr>
      <vt:lpstr>4_Office Theme</vt:lpstr>
      <vt:lpstr>7_Office Theme</vt:lpstr>
      <vt:lpstr>8_Office Theme</vt:lpstr>
      <vt:lpstr>9_Office Theme</vt:lpstr>
      <vt:lpstr>2_Тема Office</vt:lpstr>
      <vt:lpstr>1_Office Theme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Финансирование расходов  на реализацию полномочий Министерства в 2021 году</vt:lpstr>
      <vt:lpstr>Презентация PowerPoint</vt:lpstr>
      <vt:lpstr>Презентация PowerPoint</vt:lpstr>
      <vt:lpstr>Презентация PowerPoint</vt:lpstr>
      <vt:lpstr>Финансирование переданных полномочий в области лесных отношений в ДФО</vt:lpstr>
      <vt:lpstr>Презентация PowerPoint</vt:lpstr>
      <vt:lpstr>Презентация PowerPoint</vt:lpstr>
      <vt:lpstr>Презентация PowerPoint</vt:lpstr>
      <vt:lpstr>УВЕЛИЧЕНИЕ ФИНАНСИРОВАНИЯ СНИЗИЛО ПЛОЩАДЬ ЛЕСНЫХ ПОЖАРОВ В 18 РАЗ</vt:lpstr>
      <vt:lpstr>МЕРОПРИЯТИЯ ПО ПОДГОТОВКЕ К ПОЖАРООПАСНОМУ СЕЗОНУ 2022 ГОДА ВЫПОЛНЕНЫ НА 98 %</vt:lpstr>
      <vt:lpstr>ПОДГОТОВКА К ПОЖАРООПАСНОМУ СЕЗОНУ 2022 ГОДА </vt:lpstr>
      <vt:lpstr>ЗАКУП ЛЕСОПОЖАРНОЙ ТЕХНИКИ И ОБОРУДОВАНИЯ</vt:lpstr>
      <vt:lpstr>УВЕЛИЧЕНИЕ КРАТНОСТИ РЕЙДОВЫХ МЕРОПРИЯТИЙ И ИХ КАЧЕСТВО ПРИВЕЛО К СОКРАЩЕНИЮ ВРЕДА ПРИЧИНЕННОГО ЛЕСНОМУ ФОНДУ</vt:lpstr>
      <vt:lpstr>ПОКАЗАТЕЛИ КОНТРОЛЬНО-НАДЗОРНОЙ ДЕЯТЕЛЬНОСТИ В ОТНОШЕНИИ ВЛАДЕЛЬЦЕВ ПУНКТОВ ПРИЕМА И ОТГРУЗКИ ДРЕВЕСИНЫ</vt:lpstr>
      <vt:lpstr>Презентация PowerPoint</vt:lpstr>
      <vt:lpstr>Презентация PowerPoint</vt:lpstr>
      <vt:lpstr>В области водных отношений (2021 год)</vt:lpstr>
      <vt:lpstr>В области водных отношений (2021 год)</vt:lpstr>
      <vt:lpstr>В области водных отношений (2021 год)</vt:lpstr>
      <vt:lpstr>Защита населенных пунктов от затопления (2022 г.)</vt:lpstr>
      <vt:lpstr>Презентация PowerPoint</vt:lpstr>
      <vt:lpstr>Бесперебойная работа регионального оператора по обращению с ТКО</vt:lpstr>
      <vt:lpstr>Бесперебойная работа регионального оператора по обращению с ТКО</vt:lpstr>
      <vt:lpstr>Корректировка территориальной схемы обращения с отходами Забайкальского края </vt:lpstr>
      <vt:lpstr>Инвестиционные Проекты 2022-2026 гг.</vt:lpstr>
      <vt:lpstr>Внедрение раздельного накопления ТКО среди населения </vt:lpstr>
      <vt:lpstr>Презентация PowerPoint</vt:lpstr>
      <vt:lpstr>Региональный проект «Чистый воздух» национального проекта «Экология»</vt:lpstr>
      <vt:lpstr>Презентация PowerPoint</vt:lpstr>
      <vt:lpstr>Презентация PowerPoint</vt:lpstr>
      <vt:lpstr>Презентация PowerPoint</vt:lpstr>
      <vt:lpstr>Результаты деятельности Министерства по охране, контролю и регулированию  использования  объектов животного мира</vt:lpstr>
      <vt:lpstr>Регулирование численности вол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полнительные слайды</vt:lpstr>
      <vt:lpstr>Презентация PowerPoint</vt:lpstr>
      <vt:lpstr>ПЕРЕВОД АИТ С УГОЛЬНОГО ОТОПЛЕНИЯ НА СУГ</vt:lpstr>
      <vt:lpstr>Презентация PowerPoint</vt:lpstr>
    </vt:vector>
  </TitlesOfParts>
  <Company>diakov.n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r</dc:creator>
  <cp:lastModifiedBy>Борщевская Ольга Викторовна</cp:lastModifiedBy>
  <cp:revision>779</cp:revision>
  <cp:lastPrinted>2022-01-17T06:09:48Z</cp:lastPrinted>
  <dcterms:created xsi:type="dcterms:W3CDTF">2019-06-03T13:10:04Z</dcterms:created>
  <dcterms:modified xsi:type="dcterms:W3CDTF">2022-01-17T22:39:52Z</dcterms:modified>
</cp:coreProperties>
</file>